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8.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9.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191.xml" ContentType="application/vnd.openxmlformats-officedocument.presentationml.slideLayout+xml"/>
  <Override PartName="/ppt/theme/theme10.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1.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12.xml" ContentType="application/vnd.openxmlformats-officedocument.theme+xml"/>
  <Override PartName="/ppt/slideLayouts/slideLayout209.xml" ContentType="application/vnd.openxmlformats-officedocument.presentationml.slideLayout+xml"/>
  <Override PartName="/ppt/theme/theme13.xml" ContentType="application/vnd.openxmlformats-officedocument.theme+xml"/>
  <Override PartName="/ppt/slideLayouts/slideLayout210.xml" ContentType="application/vnd.openxmlformats-officedocument.presentationml.slideLayout+xml"/>
  <Override PartName="/ppt/theme/theme1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5.xml" ContentType="application/vnd.openxmlformats-officedocument.theme+xml"/>
  <Override PartName="/ppt/slideLayouts/slideLayout253.xml" ContentType="application/vnd.openxmlformats-officedocument.presentationml.slideLayout+xml"/>
  <Override PartName="/ppt/theme/theme1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254.xml" ContentType="application/vnd.openxmlformats-officedocument.presentationml.slideLayout+xml"/>
  <Override PartName="/ppt/theme/theme17.xml" ContentType="application/vnd.openxmlformats-officedocument.theme+xml"/>
  <Override PartName="/ppt/slideLayouts/slideLayout255.xml" ContentType="application/vnd.openxmlformats-officedocument.presentationml.slideLayout+xml"/>
  <Override PartName="/ppt/theme/theme18.xml" ContentType="application/vnd.openxmlformats-officedocument.theme+xml"/>
  <Override PartName="/ppt/slideLayouts/slideLayout256.xml" ContentType="application/vnd.openxmlformats-officedocument.presentationml.slideLayout+xml"/>
  <Override PartName="/ppt/theme/theme19.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20.xml" ContentType="application/vnd.openxmlformats-officedocument.theme+xml"/>
  <Override PartName="/ppt/slideLayouts/slideLayout272.xml" ContentType="application/vnd.openxmlformats-officedocument.presentationml.slideLayout+xml"/>
  <Override PartName="/ppt/theme/theme2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2.xml" ContentType="application/vnd.openxmlformats-officedocument.theme+xml"/>
  <Override PartName="/ppt/slideLayouts/slideLayout276.xml" ContentType="application/vnd.openxmlformats-officedocument.presentationml.slideLayout+xml"/>
  <Override PartName="/ppt/theme/theme2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heme/theme2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E4E40F_48DE1B1C.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2" r:id="rId4"/>
    <p:sldMasterId id="2147484509" r:id="rId5"/>
    <p:sldMasterId id="2147483963" r:id="rId6"/>
    <p:sldMasterId id="2147483994" r:id="rId7"/>
    <p:sldMasterId id="2147484025" r:id="rId8"/>
    <p:sldMasterId id="2147484057" r:id="rId9"/>
    <p:sldMasterId id="2147484384" r:id="rId10"/>
    <p:sldMasterId id="2147484369" r:id="rId11"/>
    <p:sldMasterId id="2147484371" r:id="rId12"/>
    <p:sldMasterId id="2147484373" r:id="rId13"/>
    <p:sldMasterId id="2147483769" r:id="rId14"/>
    <p:sldMasterId id="2147484456" r:id="rId15"/>
    <p:sldMasterId id="2147484388" r:id="rId16"/>
    <p:sldMasterId id="2147483940" r:id="rId17"/>
    <p:sldMasterId id="2147484413" r:id="rId18"/>
    <p:sldMasterId id="2147484457" r:id="rId19"/>
    <p:sldMasterId id="2147483719" r:id="rId20"/>
    <p:sldMasterId id="2147484466" r:id="rId21"/>
    <p:sldMasterId id="2147484478" r:id="rId22"/>
    <p:sldMasterId id="2147484483" r:id="rId23"/>
    <p:sldMasterId id="2147483660" r:id="rId24"/>
    <p:sldMasterId id="2147484524" r:id="rId25"/>
    <p:sldMasterId id="2147484530" r:id="rId26"/>
  </p:sldMasterIdLst>
  <p:notesMasterIdLst>
    <p:notesMasterId r:id="rId39"/>
  </p:notesMasterIdLst>
  <p:sldIdLst>
    <p:sldId id="258" r:id="rId27"/>
    <p:sldId id="2947" r:id="rId28"/>
    <p:sldId id="2145707023" r:id="rId29"/>
    <p:sldId id="2145706456" r:id="rId30"/>
    <p:sldId id="2805" r:id="rId31"/>
    <p:sldId id="2145707028" r:id="rId32"/>
    <p:sldId id="829" r:id="rId33"/>
    <p:sldId id="2145707025" r:id="rId34"/>
    <p:sldId id="2145707026" r:id="rId35"/>
    <p:sldId id="2145707029" r:id="rId36"/>
    <p:sldId id="2145707027" r:id="rId37"/>
    <p:sldId id="2145707030" r:id="rId38"/>
  </p:sldIdLst>
  <p:sldSz cx="12192000" cy="6858000"/>
  <p:notesSz cx="7023100" cy="93091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3E9424-A84C-4CCD-6AAA-25F37E2332AF}" name="Rocha, Xochitl" initials="RX" userId="S::Xochitl.Rocha@tea.texas.gov::b3aef35b-0659-4b39-8a9d-6244e6faa77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Rocha, Xochitl" initials="RX" lastIdx="40" clrIdx="6">
    <p:extLst>
      <p:ext uri="{19B8F6BF-5375-455C-9EA6-DF929625EA0E}">
        <p15:presenceInfo xmlns:p15="http://schemas.microsoft.com/office/powerpoint/2012/main" userId="S::Xochitl.Rocha@tea.texas.gov::b3aef35b-0659-4b39-8a9d-6244e6faa774" providerId="AD"/>
      </p:ext>
    </p:extLst>
  </p:cmAuthor>
  <p:cmAuthor id="1" name="Dobson, Kristen" initials="DK" lastIdx="14" clrIdx="0">
    <p:extLst>
      <p:ext uri="{19B8F6BF-5375-455C-9EA6-DF929625EA0E}">
        <p15:presenceInfo xmlns:p15="http://schemas.microsoft.com/office/powerpoint/2012/main" userId="S::Kristen.Dobson@tea.texas.gov::a0271f7e-e53b-4def-869d-8a93b4d3856c" providerId="AD"/>
      </p:ext>
    </p:extLst>
  </p:cmAuthor>
  <p:cmAuthor id="8" name="Brown, Jordan" initials="BJ" lastIdx="13" clrIdx="7">
    <p:extLst>
      <p:ext uri="{19B8F6BF-5375-455C-9EA6-DF929625EA0E}">
        <p15:presenceInfo xmlns:p15="http://schemas.microsoft.com/office/powerpoint/2012/main" userId="S::Jordan.Brown@tea.texas.gov::28e75e5a-eaee-4496-b242-32c3608910dc" providerId="AD"/>
      </p:ext>
    </p:extLst>
  </p:cmAuthor>
  <p:cmAuthor id="2" name="Hodge, Andrew" initials="HA" lastIdx="29" clrIdx="1">
    <p:extLst>
      <p:ext uri="{19B8F6BF-5375-455C-9EA6-DF929625EA0E}">
        <p15:presenceInfo xmlns:p15="http://schemas.microsoft.com/office/powerpoint/2012/main" userId="S::Andrew.Hodge@tea.texas.gov::1362232e-2a21-4aeb-b269-777aa616b591" providerId="AD"/>
      </p:ext>
    </p:extLst>
  </p:cmAuthor>
  <p:cmAuthor id="9" name="Johnson, Amy" initials="JA" lastIdx="12" clrIdx="8">
    <p:extLst>
      <p:ext uri="{19B8F6BF-5375-455C-9EA6-DF929625EA0E}">
        <p15:presenceInfo xmlns:p15="http://schemas.microsoft.com/office/powerpoint/2012/main" userId="S::amy.johnson@tea.texas.gov::889da580-d8ee-4007-9a8c-1655b1197b62" providerId="AD"/>
      </p:ext>
    </p:extLst>
  </p:cmAuthor>
  <p:cmAuthor id="3" name="Siedlecki, Joe" initials="SJ" lastIdx="1" clrIdx="2">
    <p:extLst>
      <p:ext uri="{19B8F6BF-5375-455C-9EA6-DF929625EA0E}">
        <p15:presenceInfo xmlns:p15="http://schemas.microsoft.com/office/powerpoint/2012/main" userId="S::Joe.Siedlecki@tea.texas.gov::4e6091c8-3e01-41e6-afc8-bad44ff99b2b" providerId="AD"/>
      </p:ext>
    </p:extLst>
  </p:cmAuthor>
  <p:cmAuthor id="10" name="Thomas, Carlene" initials="TC" lastIdx="27" clrIdx="9">
    <p:extLst>
      <p:ext uri="{19B8F6BF-5375-455C-9EA6-DF929625EA0E}">
        <p15:presenceInfo xmlns:p15="http://schemas.microsoft.com/office/powerpoint/2012/main" userId="S::Carlene.Thomas@tea.texas.gov::0d1f9cee-ddb3-4b9b-814f-31b67fb14512" providerId="AD"/>
      </p:ext>
    </p:extLst>
  </p:cmAuthor>
  <p:cmAuthor id="4" name="Martinez, Julie" initials="MJ" lastIdx="40" clrIdx="3">
    <p:extLst>
      <p:ext uri="{19B8F6BF-5375-455C-9EA6-DF929625EA0E}">
        <p15:presenceInfo xmlns:p15="http://schemas.microsoft.com/office/powerpoint/2012/main" userId="S::Julie.Martinez@tea.texas.gov::98c2d5c8-6e2c-44de-a965-89f0e336d2e4" providerId="AD"/>
      </p:ext>
    </p:extLst>
  </p:cmAuthor>
  <p:cmAuthor id="11" name="Lara, Julie" initials="LJ" lastIdx="4" clrIdx="10">
    <p:extLst>
      <p:ext uri="{19B8F6BF-5375-455C-9EA6-DF929625EA0E}">
        <p15:presenceInfo xmlns:p15="http://schemas.microsoft.com/office/powerpoint/2012/main" userId="S::Julie.Lara@tea.texas.gov::98c2d5c8-6e2c-44de-a965-89f0e336d2e4" providerId="AD"/>
      </p:ext>
    </p:extLst>
  </p:cmAuthor>
  <p:cmAuthor id="5" name="Santellana, Rickey" initials="SR" lastIdx="55" clrIdx="4">
    <p:extLst>
      <p:ext uri="{19B8F6BF-5375-455C-9EA6-DF929625EA0E}">
        <p15:presenceInfo xmlns:p15="http://schemas.microsoft.com/office/powerpoint/2012/main" userId="S::Rickey.Santellana@tea.texas.gov::f33c8880-ffed-481f-8cd0-66f84e86794e" providerId="AD"/>
      </p:ext>
    </p:extLst>
  </p:cmAuthor>
  <p:cmAuthor id="6" name="Gangopadhyay, Niloy" initials="GN" lastIdx="28" clrIdx="5">
    <p:extLst>
      <p:ext uri="{19B8F6BF-5375-455C-9EA6-DF929625EA0E}">
        <p15:presenceInfo xmlns:p15="http://schemas.microsoft.com/office/powerpoint/2012/main" userId="S::Niloy.Gangopadhyay@tea.texas.gov::2ac63da1-3331-4631-ad93-8dfcfc72ee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642D"/>
    <a:srgbClr val="0781A6"/>
    <a:srgbClr val="04761A"/>
    <a:srgbClr val="018583"/>
    <a:srgbClr val="00486E"/>
    <a:srgbClr val="DA3E26"/>
    <a:srgbClr val="40396F"/>
    <a:srgbClr val="3B869B"/>
    <a:srgbClr val="3D4B8F"/>
    <a:srgbClr val="704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A28669-3908-4BB3-B774-1FDD988AF8E6}" v="5298" dt="2023-08-01T18:35:43.227"/>
    <p1510:client id="{5100DB58-921B-40EB-BA40-912F2B9DD66C}" v="350" vWet="352" dt="2023-07-31T20:59:15.717"/>
    <p1510:client id="{A64B42A6-B75F-425A-A676-7ED9D1A7DAF3}" v="10" dt="2023-07-31T20:31:45.13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2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8.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7.xml"/><Relationship Id="rId38" Type="http://schemas.openxmlformats.org/officeDocument/2006/relationships/slide" Target="slides/slide12.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3.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2.xml"/><Relationship Id="rId36" Type="http://schemas.openxmlformats.org/officeDocument/2006/relationships/slide" Target="slides/slide10.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viewProps" Target="viewProps.xml"/></Relationships>
</file>

<file path=ppt/comments/modernComment_7FE4E40F_48DE1B1C.xml><?xml version="1.0" encoding="utf-8"?>
<p188:cmLst xmlns:a="http://schemas.openxmlformats.org/drawingml/2006/main" xmlns:r="http://schemas.openxmlformats.org/officeDocument/2006/relationships" xmlns:p188="http://schemas.microsoft.com/office/powerpoint/2018/8/main">
  <p188:cm id="{1B44A4EB-7315-4CFB-8C7D-29BBD67589F7}" authorId="{6A3E9424-A84C-4CCD-6AAA-25F37E2332AF}" created="2023-07-31T21:52:59.150">
    <pc:sldMkLst xmlns:pc="http://schemas.microsoft.com/office/powerpoint/2013/main/command">
      <pc:docMk/>
      <pc:sldMk cId="1222515484" sldId="2145707023"/>
    </pc:sldMkLst>
    <p188:txBody>
      <a:bodyPr/>
      <a:lstStyle/>
      <a:p>
        <a:r>
          <a:rPr lang="en-US"/>
          <a:t>[@Lara, Julie]  TY
</a:t>
        </a:r>
      </a:p>
    </p188:txBody>
  </p188:cm>
</p188:cmLst>
</file>

<file path=ppt/diagrams/_rels/data2.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s>
</file>

<file path=ppt/diagrams/_rels/drawing2.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A88B8E-3594-4F20-8922-E4571F21BD3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CAC716D1-CE83-4CA9-9AF3-75A4D79A1408}">
      <dgm:prSet phldrT="[Text]"/>
      <dgm:spPr/>
      <dgm:t>
        <a:bodyPr/>
        <a:lstStyle/>
        <a:p>
          <a:r>
            <a:rPr lang="en-US"/>
            <a:t>Home Language Survey</a:t>
          </a:r>
        </a:p>
      </dgm:t>
    </dgm:pt>
    <dgm:pt modelId="{701193F0-AF4C-4B27-AB0E-3C337A8AEEB5}" type="parTrans" cxnId="{58B34C5D-1DA1-47E1-89CC-D9F2A326F50C}">
      <dgm:prSet/>
      <dgm:spPr/>
      <dgm:t>
        <a:bodyPr/>
        <a:lstStyle/>
        <a:p>
          <a:endParaRPr lang="en-US"/>
        </a:p>
      </dgm:t>
    </dgm:pt>
    <dgm:pt modelId="{C2BF0EF5-D178-4FED-976E-0BA2991F39D4}" type="sibTrans" cxnId="{58B34C5D-1DA1-47E1-89CC-D9F2A326F50C}">
      <dgm:prSet/>
      <dgm:spPr/>
      <dgm:t>
        <a:bodyPr/>
        <a:lstStyle/>
        <a:p>
          <a:endParaRPr lang="en-US"/>
        </a:p>
      </dgm:t>
    </dgm:pt>
    <dgm:pt modelId="{85628D11-E2CD-4E23-80D0-415D21FBB6D8}">
      <dgm:prSet phldrT="[Text]" custT="1"/>
      <dgm:spPr/>
      <dgm:t>
        <a:bodyPr/>
        <a:lstStyle/>
        <a:p>
          <a:r>
            <a:rPr lang="en-US" sz="2000"/>
            <a:t>TEA state-developed form</a:t>
          </a:r>
        </a:p>
      </dgm:t>
    </dgm:pt>
    <dgm:pt modelId="{93CCD384-CB9F-481C-BDD6-315B9FE3C0B7}" type="parTrans" cxnId="{CBDC8227-3572-4642-AA93-E47DFE6B4AC6}">
      <dgm:prSet/>
      <dgm:spPr/>
      <dgm:t>
        <a:bodyPr/>
        <a:lstStyle/>
        <a:p>
          <a:endParaRPr lang="en-US"/>
        </a:p>
      </dgm:t>
    </dgm:pt>
    <dgm:pt modelId="{342B6BCA-00A7-41FE-ACB7-80914C18A20A}" type="sibTrans" cxnId="{CBDC8227-3572-4642-AA93-E47DFE6B4AC6}">
      <dgm:prSet/>
      <dgm:spPr/>
      <dgm:t>
        <a:bodyPr/>
        <a:lstStyle/>
        <a:p>
          <a:endParaRPr lang="en-US"/>
        </a:p>
      </dgm:t>
    </dgm:pt>
    <dgm:pt modelId="{23011930-B629-4078-B2AA-6ECCC8B4FA70}">
      <dgm:prSet phldrT="[Text]"/>
      <dgm:spPr/>
      <dgm:t>
        <a:bodyPr/>
        <a:lstStyle/>
        <a:p>
          <a:r>
            <a:rPr lang="en-US"/>
            <a:t>Reclassification</a:t>
          </a:r>
        </a:p>
      </dgm:t>
    </dgm:pt>
    <dgm:pt modelId="{D4BC4961-85FF-4A83-A1BC-7D248751A3AB}" type="parTrans" cxnId="{1222182F-31F8-4176-B6FF-2F96531D2EC3}">
      <dgm:prSet/>
      <dgm:spPr/>
      <dgm:t>
        <a:bodyPr/>
        <a:lstStyle/>
        <a:p>
          <a:endParaRPr lang="en-US"/>
        </a:p>
      </dgm:t>
    </dgm:pt>
    <dgm:pt modelId="{C2F68151-32A6-4F7E-BC55-9EE3302DD05F}" type="sibTrans" cxnId="{1222182F-31F8-4176-B6FF-2F96531D2EC3}">
      <dgm:prSet/>
      <dgm:spPr/>
      <dgm:t>
        <a:bodyPr/>
        <a:lstStyle/>
        <a:p>
          <a:endParaRPr lang="en-US"/>
        </a:p>
      </dgm:t>
    </dgm:pt>
    <dgm:pt modelId="{9C46883D-3F79-4CA4-8140-A21C94FC1AB7}">
      <dgm:prSet phldrT="[Text]" custT="1"/>
      <dgm:spPr/>
      <dgm:t>
        <a:bodyPr/>
        <a:lstStyle/>
        <a:p>
          <a:r>
            <a:rPr lang="en-US" sz="2000"/>
            <a:t>Composite Score</a:t>
          </a:r>
        </a:p>
      </dgm:t>
    </dgm:pt>
    <dgm:pt modelId="{868CCDC5-9792-49A9-92EE-1C1E264757DA}" type="parTrans" cxnId="{CC20E1FD-16EE-46E3-8B60-4B01D4F07933}">
      <dgm:prSet/>
      <dgm:spPr/>
      <dgm:t>
        <a:bodyPr/>
        <a:lstStyle/>
        <a:p>
          <a:endParaRPr lang="en-US"/>
        </a:p>
      </dgm:t>
    </dgm:pt>
    <dgm:pt modelId="{C7E734FD-2025-4A65-8694-1FB441D5D55C}" type="sibTrans" cxnId="{CC20E1FD-16EE-46E3-8B60-4B01D4F07933}">
      <dgm:prSet/>
      <dgm:spPr/>
      <dgm:t>
        <a:bodyPr/>
        <a:lstStyle/>
        <a:p>
          <a:endParaRPr lang="en-US"/>
        </a:p>
      </dgm:t>
    </dgm:pt>
    <dgm:pt modelId="{5A482BAB-B9CB-4070-A066-0FA854ABF498}">
      <dgm:prSet phldrT="[Text]" custT="1"/>
      <dgm:spPr/>
      <dgm:t>
        <a:bodyPr/>
        <a:lstStyle/>
        <a:p>
          <a:r>
            <a:rPr lang="en-US" sz="2000"/>
            <a:t>3</a:t>
          </a:r>
          <a:r>
            <a:rPr lang="en-US" sz="2000" baseline="30000"/>
            <a:t>rd</a:t>
          </a:r>
          <a:r>
            <a:rPr lang="en-US" sz="2000"/>
            <a:t> question</a:t>
          </a:r>
        </a:p>
      </dgm:t>
    </dgm:pt>
    <dgm:pt modelId="{B834F369-639E-4DDA-BFDD-04638F3C5A2F}" type="parTrans" cxnId="{40D64F47-DA43-4907-AB77-757E69E91A66}">
      <dgm:prSet/>
      <dgm:spPr/>
      <dgm:t>
        <a:bodyPr/>
        <a:lstStyle/>
        <a:p>
          <a:endParaRPr lang="en-US"/>
        </a:p>
      </dgm:t>
    </dgm:pt>
    <dgm:pt modelId="{8330762D-1284-4A07-8FB9-9EB8D96A3CD2}" type="sibTrans" cxnId="{40D64F47-DA43-4907-AB77-757E69E91A66}">
      <dgm:prSet/>
      <dgm:spPr/>
      <dgm:t>
        <a:bodyPr/>
        <a:lstStyle/>
        <a:p>
          <a:endParaRPr lang="en-US"/>
        </a:p>
      </dgm:t>
    </dgm:pt>
    <dgm:pt modelId="{2CC6C465-36BC-4AF3-BE2A-C4A11D9C808F}">
      <dgm:prSet phldrT="[Text]" custT="1"/>
      <dgm:spPr/>
      <dgm:t>
        <a:bodyPr/>
        <a:lstStyle/>
        <a:p>
          <a:r>
            <a:rPr lang="en-US" sz="2000"/>
            <a:t>End of Year for 23-24 SY </a:t>
          </a:r>
        </a:p>
      </dgm:t>
    </dgm:pt>
    <dgm:pt modelId="{DB2B6379-202E-458E-A5D5-2EFC4BD0CAB9}" type="parTrans" cxnId="{D52D39FC-E5F4-4DF7-9592-2B4588505773}">
      <dgm:prSet/>
      <dgm:spPr/>
      <dgm:t>
        <a:bodyPr/>
        <a:lstStyle/>
        <a:p>
          <a:endParaRPr lang="en-US"/>
        </a:p>
      </dgm:t>
    </dgm:pt>
    <dgm:pt modelId="{A5621153-8C21-43B3-948B-270D526D9592}" type="sibTrans" cxnId="{D52D39FC-E5F4-4DF7-9592-2B4588505773}">
      <dgm:prSet/>
      <dgm:spPr/>
      <dgm:t>
        <a:bodyPr/>
        <a:lstStyle/>
        <a:p>
          <a:endParaRPr lang="en-US"/>
        </a:p>
      </dgm:t>
    </dgm:pt>
    <dgm:pt modelId="{4D5BF5BF-C96B-4924-B5E5-BD1DC1A114AA}">
      <dgm:prSet phldrT="[Text]"/>
      <dgm:spPr/>
      <dgm:t>
        <a:bodyPr/>
        <a:lstStyle/>
        <a:p>
          <a:r>
            <a:rPr lang="en-US"/>
            <a:t>Terminology</a:t>
          </a:r>
        </a:p>
      </dgm:t>
    </dgm:pt>
    <dgm:pt modelId="{1FEEA97C-1ACB-46C9-B2DC-62FD51EA546A}" type="parTrans" cxnId="{6B7C94CC-C592-42BE-A4BB-651DDDCA9146}">
      <dgm:prSet/>
      <dgm:spPr/>
      <dgm:t>
        <a:bodyPr/>
        <a:lstStyle/>
        <a:p>
          <a:endParaRPr lang="en-US"/>
        </a:p>
      </dgm:t>
    </dgm:pt>
    <dgm:pt modelId="{CF23B996-B80B-44C1-B4E7-9692C250AED8}" type="sibTrans" cxnId="{6B7C94CC-C592-42BE-A4BB-651DDDCA9146}">
      <dgm:prSet/>
      <dgm:spPr/>
      <dgm:t>
        <a:bodyPr/>
        <a:lstStyle/>
        <a:p>
          <a:endParaRPr lang="en-US"/>
        </a:p>
      </dgm:t>
    </dgm:pt>
    <dgm:pt modelId="{6DC38E56-BF55-434D-A812-B56E3532EA98}">
      <dgm:prSet phldrT="[Text]"/>
      <dgm:spPr/>
      <dgm:t>
        <a:bodyPr/>
        <a:lstStyle/>
        <a:p>
          <a:r>
            <a:rPr lang="en-US"/>
            <a:t>Emergent Bilingual Student </a:t>
          </a:r>
        </a:p>
      </dgm:t>
    </dgm:pt>
    <dgm:pt modelId="{88A14D0A-790A-406F-BE53-8818CF242584}" type="parTrans" cxnId="{2F5321D7-7899-430B-9B28-763AF1F81D3B}">
      <dgm:prSet/>
      <dgm:spPr/>
      <dgm:t>
        <a:bodyPr/>
        <a:lstStyle/>
        <a:p>
          <a:endParaRPr lang="en-US"/>
        </a:p>
      </dgm:t>
    </dgm:pt>
    <dgm:pt modelId="{09C6083A-B5F1-4B5D-A701-6B4540794B92}" type="sibTrans" cxnId="{2F5321D7-7899-430B-9B28-763AF1F81D3B}">
      <dgm:prSet/>
      <dgm:spPr/>
      <dgm:t>
        <a:bodyPr/>
        <a:lstStyle/>
        <a:p>
          <a:endParaRPr lang="en-US"/>
        </a:p>
      </dgm:t>
    </dgm:pt>
    <dgm:pt modelId="{27252A58-B150-41EF-B721-E7174B593B26}">
      <dgm:prSet phldrT="[Text]"/>
      <dgm:spPr/>
      <dgm:t>
        <a:bodyPr/>
        <a:lstStyle/>
        <a:p>
          <a:r>
            <a:rPr lang="en-US"/>
            <a:t>Content-Based Language Instruction (CBLI) </a:t>
          </a:r>
        </a:p>
      </dgm:t>
    </dgm:pt>
    <dgm:pt modelId="{7B778D7F-01A5-4886-9040-CEE50270B040}" type="parTrans" cxnId="{591410FE-3AF9-478B-842F-4BD39B250975}">
      <dgm:prSet/>
      <dgm:spPr/>
      <dgm:t>
        <a:bodyPr/>
        <a:lstStyle/>
        <a:p>
          <a:endParaRPr lang="en-US"/>
        </a:p>
      </dgm:t>
    </dgm:pt>
    <dgm:pt modelId="{AF98E109-5145-4A98-9E8E-2BC9821D1E8F}" type="sibTrans" cxnId="{591410FE-3AF9-478B-842F-4BD39B250975}">
      <dgm:prSet/>
      <dgm:spPr/>
      <dgm:t>
        <a:bodyPr/>
        <a:lstStyle/>
        <a:p>
          <a:endParaRPr lang="en-US"/>
        </a:p>
      </dgm:t>
    </dgm:pt>
    <dgm:pt modelId="{8D261B7D-418D-4B0C-B846-43AC420E2311}">
      <dgm:prSet phldrT="[Text]"/>
      <dgm:spPr/>
      <dgm:t>
        <a:bodyPr/>
        <a:lstStyle/>
        <a:p>
          <a:r>
            <a:rPr lang="en-US"/>
            <a:t>Primary/ Partner Language </a:t>
          </a:r>
        </a:p>
      </dgm:t>
    </dgm:pt>
    <dgm:pt modelId="{E6DFB70C-A95C-41FC-8CA2-B2DC7E42FCCD}" type="parTrans" cxnId="{D383AAD1-FB4F-4B04-8FE7-57AFA2846DBE}">
      <dgm:prSet/>
      <dgm:spPr/>
      <dgm:t>
        <a:bodyPr/>
        <a:lstStyle/>
        <a:p>
          <a:endParaRPr lang="en-US"/>
        </a:p>
      </dgm:t>
    </dgm:pt>
    <dgm:pt modelId="{E5693B43-AC62-48CF-A1DA-87B2FDDF483A}" type="sibTrans" cxnId="{D383AAD1-FB4F-4B04-8FE7-57AFA2846DBE}">
      <dgm:prSet/>
      <dgm:spPr/>
      <dgm:t>
        <a:bodyPr/>
        <a:lstStyle/>
        <a:p>
          <a:endParaRPr lang="en-US"/>
        </a:p>
      </dgm:t>
    </dgm:pt>
    <dgm:pt modelId="{CF3BFD32-28DA-4161-85A4-03155C60C8D5}">
      <dgm:prSet phldrT="[Text]"/>
      <dgm:spPr/>
      <dgm:t>
        <a:bodyPr/>
        <a:lstStyle/>
        <a:p>
          <a:r>
            <a:rPr lang="en-US"/>
            <a:t>Program Models </a:t>
          </a:r>
        </a:p>
      </dgm:t>
    </dgm:pt>
    <dgm:pt modelId="{49138111-A71D-4C23-97D1-B3752A97D79F}" type="parTrans" cxnId="{7A01EEDE-70F8-49C6-ABFB-21DB0F7FDCC2}">
      <dgm:prSet/>
      <dgm:spPr/>
      <dgm:t>
        <a:bodyPr/>
        <a:lstStyle/>
        <a:p>
          <a:endParaRPr lang="en-US"/>
        </a:p>
      </dgm:t>
    </dgm:pt>
    <dgm:pt modelId="{6FAAF858-E10D-4E1C-ACB4-86B6DBFD4FD3}" type="sibTrans" cxnId="{7A01EEDE-70F8-49C6-ABFB-21DB0F7FDCC2}">
      <dgm:prSet/>
      <dgm:spPr/>
      <dgm:t>
        <a:bodyPr/>
        <a:lstStyle/>
        <a:p>
          <a:endParaRPr lang="en-US"/>
        </a:p>
      </dgm:t>
    </dgm:pt>
    <dgm:pt modelId="{22C2112A-116A-4EFF-A9CC-BC5EF0430FA2}">
      <dgm:prSet phldrT="[Text]" custT="1"/>
      <dgm:spPr/>
      <dgm:t>
        <a:bodyPr/>
        <a:lstStyle/>
        <a:p>
          <a:r>
            <a:rPr lang="en-US" sz="2000"/>
            <a:t>Dual Language Immersion minimum requirements for two-way and clarification on partner teaching  </a:t>
          </a:r>
        </a:p>
      </dgm:t>
    </dgm:pt>
    <dgm:pt modelId="{45797666-1107-4A3D-94A9-4D7C131A80E8}" type="parTrans" cxnId="{82DD6AB7-9F94-4C1B-80F3-63FCF363699D}">
      <dgm:prSet/>
      <dgm:spPr/>
      <dgm:t>
        <a:bodyPr/>
        <a:lstStyle/>
        <a:p>
          <a:endParaRPr lang="en-US"/>
        </a:p>
      </dgm:t>
    </dgm:pt>
    <dgm:pt modelId="{22B5DE8C-A265-4C0C-AFD5-9F066E2E41BB}" type="sibTrans" cxnId="{82DD6AB7-9F94-4C1B-80F3-63FCF363699D}">
      <dgm:prSet/>
      <dgm:spPr/>
      <dgm:t>
        <a:bodyPr/>
        <a:lstStyle/>
        <a:p>
          <a:endParaRPr lang="en-US"/>
        </a:p>
      </dgm:t>
    </dgm:pt>
    <dgm:pt modelId="{043A3F0D-9E2E-44C8-890F-E90C5D54E8BA}" type="pres">
      <dgm:prSet presAssocID="{A5A88B8E-3594-4F20-8922-E4571F21BD3D}" presName="Name0" presStyleCnt="0">
        <dgm:presLayoutVars>
          <dgm:dir/>
          <dgm:animLvl val="lvl"/>
          <dgm:resizeHandles val="exact"/>
        </dgm:presLayoutVars>
      </dgm:prSet>
      <dgm:spPr/>
    </dgm:pt>
    <dgm:pt modelId="{638E907C-5B2A-4BA6-9B10-50ABC5688554}" type="pres">
      <dgm:prSet presAssocID="{4D5BF5BF-C96B-4924-B5E5-BD1DC1A114AA}" presName="linNode" presStyleCnt="0"/>
      <dgm:spPr/>
    </dgm:pt>
    <dgm:pt modelId="{16BCF486-A7E7-4E55-BC47-D73782F9EE37}" type="pres">
      <dgm:prSet presAssocID="{4D5BF5BF-C96B-4924-B5E5-BD1DC1A114AA}" presName="parentText" presStyleLbl="node1" presStyleIdx="0" presStyleCnt="4">
        <dgm:presLayoutVars>
          <dgm:chMax val="1"/>
          <dgm:bulletEnabled val="1"/>
        </dgm:presLayoutVars>
      </dgm:prSet>
      <dgm:spPr/>
    </dgm:pt>
    <dgm:pt modelId="{894A94F5-6536-466B-8C14-CE36CA8731D4}" type="pres">
      <dgm:prSet presAssocID="{4D5BF5BF-C96B-4924-B5E5-BD1DC1A114AA}" presName="descendantText" presStyleLbl="alignAccFollowNode1" presStyleIdx="0" presStyleCnt="4">
        <dgm:presLayoutVars>
          <dgm:bulletEnabled val="1"/>
        </dgm:presLayoutVars>
      </dgm:prSet>
      <dgm:spPr/>
    </dgm:pt>
    <dgm:pt modelId="{ACC76401-7711-4626-82BD-20E899497DCE}" type="pres">
      <dgm:prSet presAssocID="{CF23B996-B80B-44C1-B4E7-9692C250AED8}" presName="sp" presStyleCnt="0"/>
      <dgm:spPr/>
    </dgm:pt>
    <dgm:pt modelId="{C78A51CE-08BC-46AD-ABF6-1B973659C39A}" type="pres">
      <dgm:prSet presAssocID="{CF3BFD32-28DA-4161-85A4-03155C60C8D5}" presName="linNode" presStyleCnt="0"/>
      <dgm:spPr/>
    </dgm:pt>
    <dgm:pt modelId="{24B93867-CF0C-460A-8137-50A8CF5BAC47}" type="pres">
      <dgm:prSet presAssocID="{CF3BFD32-28DA-4161-85A4-03155C60C8D5}" presName="parentText" presStyleLbl="node1" presStyleIdx="1" presStyleCnt="4">
        <dgm:presLayoutVars>
          <dgm:chMax val="1"/>
          <dgm:bulletEnabled val="1"/>
        </dgm:presLayoutVars>
      </dgm:prSet>
      <dgm:spPr/>
    </dgm:pt>
    <dgm:pt modelId="{819CBE10-590A-40D0-B9AD-62B3F6045510}" type="pres">
      <dgm:prSet presAssocID="{CF3BFD32-28DA-4161-85A4-03155C60C8D5}" presName="descendantText" presStyleLbl="alignAccFollowNode1" presStyleIdx="1" presStyleCnt="4">
        <dgm:presLayoutVars>
          <dgm:bulletEnabled val="1"/>
        </dgm:presLayoutVars>
      </dgm:prSet>
      <dgm:spPr/>
    </dgm:pt>
    <dgm:pt modelId="{96E4470B-F4C0-4B2E-9C1E-C76DD5B83E85}" type="pres">
      <dgm:prSet presAssocID="{6FAAF858-E10D-4E1C-ACB4-86B6DBFD4FD3}" presName="sp" presStyleCnt="0"/>
      <dgm:spPr/>
    </dgm:pt>
    <dgm:pt modelId="{2FA549E5-C21B-4B7D-9E56-B0617FAA1F82}" type="pres">
      <dgm:prSet presAssocID="{CAC716D1-CE83-4CA9-9AF3-75A4D79A1408}" presName="linNode" presStyleCnt="0"/>
      <dgm:spPr/>
    </dgm:pt>
    <dgm:pt modelId="{0772D4BC-9589-4126-A67C-B11255F9EAD6}" type="pres">
      <dgm:prSet presAssocID="{CAC716D1-CE83-4CA9-9AF3-75A4D79A1408}" presName="parentText" presStyleLbl="node1" presStyleIdx="2" presStyleCnt="4">
        <dgm:presLayoutVars>
          <dgm:chMax val="1"/>
          <dgm:bulletEnabled val="1"/>
        </dgm:presLayoutVars>
      </dgm:prSet>
      <dgm:spPr/>
    </dgm:pt>
    <dgm:pt modelId="{A271DEB0-E484-4399-9D1B-66EF5E2E5395}" type="pres">
      <dgm:prSet presAssocID="{CAC716D1-CE83-4CA9-9AF3-75A4D79A1408}" presName="descendantText" presStyleLbl="alignAccFollowNode1" presStyleIdx="2" presStyleCnt="4">
        <dgm:presLayoutVars>
          <dgm:bulletEnabled val="1"/>
        </dgm:presLayoutVars>
      </dgm:prSet>
      <dgm:spPr/>
    </dgm:pt>
    <dgm:pt modelId="{39D08B2F-5938-4663-8C97-F24AC05E0A2F}" type="pres">
      <dgm:prSet presAssocID="{C2BF0EF5-D178-4FED-976E-0BA2991F39D4}" presName="sp" presStyleCnt="0"/>
      <dgm:spPr/>
    </dgm:pt>
    <dgm:pt modelId="{6E4AFE44-4847-4443-920A-31F78486C101}" type="pres">
      <dgm:prSet presAssocID="{23011930-B629-4078-B2AA-6ECCC8B4FA70}" presName="linNode" presStyleCnt="0"/>
      <dgm:spPr/>
    </dgm:pt>
    <dgm:pt modelId="{D0DC8022-022E-4802-A593-DF8ABF645F19}" type="pres">
      <dgm:prSet presAssocID="{23011930-B629-4078-B2AA-6ECCC8B4FA70}" presName="parentText" presStyleLbl="node1" presStyleIdx="3" presStyleCnt="4">
        <dgm:presLayoutVars>
          <dgm:chMax val="1"/>
          <dgm:bulletEnabled val="1"/>
        </dgm:presLayoutVars>
      </dgm:prSet>
      <dgm:spPr/>
    </dgm:pt>
    <dgm:pt modelId="{EF2A75A6-0FF7-4F84-927D-D49439E151A5}" type="pres">
      <dgm:prSet presAssocID="{23011930-B629-4078-B2AA-6ECCC8B4FA70}" presName="descendantText" presStyleLbl="alignAccFollowNode1" presStyleIdx="3" presStyleCnt="4">
        <dgm:presLayoutVars>
          <dgm:bulletEnabled val="1"/>
        </dgm:presLayoutVars>
      </dgm:prSet>
      <dgm:spPr/>
    </dgm:pt>
  </dgm:ptLst>
  <dgm:cxnLst>
    <dgm:cxn modelId="{48943110-D098-487B-A9F6-7E598FA2B3CB}" type="presOf" srcId="{85628D11-E2CD-4E23-80D0-415D21FBB6D8}" destId="{A271DEB0-E484-4399-9D1B-66EF5E2E5395}" srcOrd="0" destOrd="0" presId="urn:microsoft.com/office/officeart/2005/8/layout/vList5"/>
    <dgm:cxn modelId="{D9A3821F-A90F-474A-93F5-D4D925BD029D}" type="presOf" srcId="{27252A58-B150-41EF-B721-E7174B593B26}" destId="{894A94F5-6536-466B-8C14-CE36CA8731D4}" srcOrd="0" destOrd="1" presId="urn:microsoft.com/office/officeart/2005/8/layout/vList5"/>
    <dgm:cxn modelId="{CBDC8227-3572-4642-AA93-E47DFE6B4AC6}" srcId="{CAC716D1-CE83-4CA9-9AF3-75A4D79A1408}" destId="{85628D11-E2CD-4E23-80D0-415D21FBB6D8}" srcOrd="0" destOrd="0" parTransId="{93CCD384-CB9F-481C-BDD6-315B9FE3C0B7}" sibTransId="{342B6BCA-00A7-41FE-ACB7-80914C18A20A}"/>
    <dgm:cxn modelId="{F8B6062A-D5CD-48E4-9570-D1B553E0F8DC}" type="presOf" srcId="{CAC716D1-CE83-4CA9-9AF3-75A4D79A1408}" destId="{0772D4BC-9589-4126-A67C-B11255F9EAD6}" srcOrd="0" destOrd="0" presId="urn:microsoft.com/office/officeart/2005/8/layout/vList5"/>
    <dgm:cxn modelId="{1222182F-31F8-4176-B6FF-2F96531D2EC3}" srcId="{A5A88B8E-3594-4F20-8922-E4571F21BD3D}" destId="{23011930-B629-4078-B2AA-6ECCC8B4FA70}" srcOrd="3" destOrd="0" parTransId="{D4BC4961-85FF-4A83-A1BC-7D248751A3AB}" sibTransId="{C2F68151-32A6-4F7E-BC55-9EE3302DD05F}"/>
    <dgm:cxn modelId="{C3B22B30-CDE3-4EE9-8A02-C08888433FCA}" type="presOf" srcId="{A5A88B8E-3594-4F20-8922-E4571F21BD3D}" destId="{043A3F0D-9E2E-44C8-890F-E90C5D54E8BA}" srcOrd="0" destOrd="0" presId="urn:microsoft.com/office/officeart/2005/8/layout/vList5"/>
    <dgm:cxn modelId="{58B34C5D-1DA1-47E1-89CC-D9F2A326F50C}" srcId="{A5A88B8E-3594-4F20-8922-E4571F21BD3D}" destId="{CAC716D1-CE83-4CA9-9AF3-75A4D79A1408}" srcOrd="2" destOrd="0" parTransId="{701193F0-AF4C-4B27-AB0E-3C337A8AEEB5}" sibTransId="{C2BF0EF5-D178-4FED-976E-0BA2991F39D4}"/>
    <dgm:cxn modelId="{40D64F47-DA43-4907-AB77-757E69E91A66}" srcId="{CAC716D1-CE83-4CA9-9AF3-75A4D79A1408}" destId="{5A482BAB-B9CB-4070-A066-0FA854ABF498}" srcOrd="1" destOrd="0" parTransId="{B834F369-639E-4DDA-BFDD-04638F3C5A2F}" sibTransId="{8330762D-1284-4A07-8FB9-9EB8D96A3CD2}"/>
    <dgm:cxn modelId="{4E8BC074-055E-4968-A88C-6185BCFC6A90}" type="presOf" srcId="{4D5BF5BF-C96B-4924-B5E5-BD1DC1A114AA}" destId="{16BCF486-A7E7-4E55-BC47-D73782F9EE37}" srcOrd="0" destOrd="0" presId="urn:microsoft.com/office/officeart/2005/8/layout/vList5"/>
    <dgm:cxn modelId="{E3C4BAA7-7E73-417F-9D93-0036BE7F7F30}" type="presOf" srcId="{CF3BFD32-28DA-4161-85A4-03155C60C8D5}" destId="{24B93867-CF0C-460A-8137-50A8CF5BAC47}" srcOrd="0" destOrd="0" presId="urn:microsoft.com/office/officeart/2005/8/layout/vList5"/>
    <dgm:cxn modelId="{F74A28B4-8E15-4D4C-B1F6-D356044D5DD4}" type="presOf" srcId="{22C2112A-116A-4EFF-A9CC-BC5EF0430FA2}" destId="{819CBE10-590A-40D0-B9AD-62B3F6045510}" srcOrd="0" destOrd="0" presId="urn:microsoft.com/office/officeart/2005/8/layout/vList5"/>
    <dgm:cxn modelId="{8DFC08B6-8B4D-496F-93CA-CBF15824543F}" type="presOf" srcId="{9C46883D-3F79-4CA4-8140-A21C94FC1AB7}" destId="{EF2A75A6-0FF7-4F84-927D-D49439E151A5}" srcOrd="0" destOrd="0" presId="urn:microsoft.com/office/officeart/2005/8/layout/vList5"/>
    <dgm:cxn modelId="{82DD6AB7-9F94-4C1B-80F3-63FCF363699D}" srcId="{CF3BFD32-28DA-4161-85A4-03155C60C8D5}" destId="{22C2112A-116A-4EFF-A9CC-BC5EF0430FA2}" srcOrd="0" destOrd="0" parTransId="{45797666-1107-4A3D-94A9-4D7C131A80E8}" sibTransId="{22B5DE8C-A265-4C0C-AFD5-9F066E2E41BB}"/>
    <dgm:cxn modelId="{DBEED3BA-84DF-4F2D-9B0D-935763FE6EE9}" type="presOf" srcId="{6DC38E56-BF55-434D-A812-B56E3532EA98}" destId="{894A94F5-6536-466B-8C14-CE36CA8731D4}" srcOrd="0" destOrd="0" presId="urn:microsoft.com/office/officeart/2005/8/layout/vList5"/>
    <dgm:cxn modelId="{6B7C94CC-C592-42BE-A4BB-651DDDCA9146}" srcId="{A5A88B8E-3594-4F20-8922-E4571F21BD3D}" destId="{4D5BF5BF-C96B-4924-B5E5-BD1DC1A114AA}" srcOrd="0" destOrd="0" parTransId="{1FEEA97C-1ACB-46C9-B2DC-62FD51EA546A}" sibTransId="{CF23B996-B80B-44C1-B4E7-9692C250AED8}"/>
    <dgm:cxn modelId="{D383AAD1-FB4F-4B04-8FE7-57AFA2846DBE}" srcId="{4D5BF5BF-C96B-4924-B5E5-BD1DC1A114AA}" destId="{8D261B7D-418D-4B0C-B846-43AC420E2311}" srcOrd="2" destOrd="0" parTransId="{E6DFB70C-A95C-41FC-8CA2-B2DC7E42FCCD}" sibTransId="{E5693B43-AC62-48CF-A1DA-87B2FDDF483A}"/>
    <dgm:cxn modelId="{2F5321D7-7899-430B-9B28-763AF1F81D3B}" srcId="{4D5BF5BF-C96B-4924-B5E5-BD1DC1A114AA}" destId="{6DC38E56-BF55-434D-A812-B56E3532EA98}" srcOrd="0" destOrd="0" parTransId="{88A14D0A-790A-406F-BE53-8818CF242584}" sibTransId="{09C6083A-B5F1-4B5D-A701-6B4540794B92}"/>
    <dgm:cxn modelId="{7A01EEDE-70F8-49C6-ABFB-21DB0F7FDCC2}" srcId="{A5A88B8E-3594-4F20-8922-E4571F21BD3D}" destId="{CF3BFD32-28DA-4161-85A4-03155C60C8D5}" srcOrd="1" destOrd="0" parTransId="{49138111-A71D-4C23-97D1-B3752A97D79F}" sibTransId="{6FAAF858-E10D-4E1C-ACB4-86B6DBFD4FD3}"/>
    <dgm:cxn modelId="{F734E3E1-081D-489B-8364-326AEB47E04F}" type="presOf" srcId="{23011930-B629-4078-B2AA-6ECCC8B4FA70}" destId="{D0DC8022-022E-4802-A593-DF8ABF645F19}" srcOrd="0" destOrd="0" presId="urn:microsoft.com/office/officeart/2005/8/layout/vList5"/>
    <dgm:cxn modelId="{893078E2-5320-41A2-B185-B51ACADF2445}" type="presOf" srcId="{8D261B7D-418D-4B0C-B846-43AC420E2311}" destId="{894A94F5-6536-466B-8C14-CE36CA8731D4}" srcOrd="0" destOrd="2" presId="urn:microsoft.com/office/officeart/2005/8/layout/vList5"/>
    <dgm:cxn modelId="{B01AA0E5-823B-41E2-BDE9-110F509FB042}" type="presOf" srcId="{5A482BAB-B9CB-4070-A066-0FA854ABF498}" destId="{A271DEB0-E484-4399-9D1B-66EF5E2E5395}" srcOrd="0" destOrd="1" presId="urn:microsoft.com/office/officeart/2005/8/layout/vList5"/>
    <dgm:cxn modelId="{82E6EEF4-9BA3-4300-8F52-3A6FEFF47CED}" type="presOf" srcId="{2CC6C465-36BC-4AF3-BE2A-C4A11D9C808F}" destId="{EF2A75A6-0FF7-4F84-927D-D49439E151A5}" srcOrd="0" destOrd="1" presId="urn:microsoft.com/office/officeart/2005/8/layout/vList5"/>
    <dgm:cxn modelId="{D52D39FC-E5F4-4DF7-9592-2B4588505773}" srcId="{23011930-B629-4078-B2AA-6ECCC8B4FA70}" destId="{2CC6C465-36BC-4AF3-BE2A-C4A11D9C808F}" srcOrd="1" destOrd="0" parTransId="{DB2B6379-202E-458E-A5D5-2EFC4BD0CAB9}" sibTransId="{A5621153-8C21-43B3-948B-270D526D9592}"/>
    <dgm:cxn modelId="{CC20E1FD-16EE-46E3-8B60-4B01D4F07933}" srcId="{23011930-B629-4078-B2AA-6ECCC8B4FA70}" destId="{9C46883D-3F79-4CA4-8140-A21C94FC1AB7}" srcOrd="0" destOrd="0" parTransId="{868CCDC5-9792-49A9-92EE-1C1E264757DA}" sibTransId="{C7E734FD-2025-4A65-8694-1FB441D5D55C}"/>
    <dgm:cxn modelId="{591410FE-3AF9-478B-842F-4BD39B250975}" srcId="{4D5BF5BF-C96B-4924-B5E5-BD1DC1A114AA}" destId="{27252A58-B150-41EF-B721-E7174B593B26}" srcOrd="1" destOrd="0" parTransId="{7B778D7F-01A5-4886-9040-CEE50270B040}" sibTransId="{AF98E109-5145-4A98-9E8E-2BC9821D1E8F}"/>
    <dgm:cxn modelId="{7E7B4565-1A9C-47C5-BB0A-E5B23F624B57}" type="presParOf" srcId="{043A3F0D-9E2E-44C8-890F-E90C5D54E8BA}" destId="{638E907C-5B2A-4BA6-9B10-50ABC5688554}" srcOrd="0" destOrd="0" presId="urn:microsoft.com/office/officeart/2005/8/layout/vList5"/>
    <dgm:cxn modelId="{6A1B55CE-B4FE-49C4-92B4-8FFCF441F87B}" type="presParOf" srcId="{638E907C-5B2A-4BA6-9B10-50ABC5688554}" destId="{16BCF486-A7E7-4E55-BC47-D73782F9EE37}" srcOrd="0" destOrd="0" presId="urn:microsoft.com/office/officeart/2005/8/layout/vList5"/>
    <dgm:cxn modelId="{13DD29D4-5E3B-42BF-8D55-F05C7F8CB30D}" type="presParOf" srcId="{638E907C-5B2A-4BA6-9B10-50ABC5688554}" destId="{894A94F5-6536-466B-8C14-CE36CA8731D4}" srcOrd="1" destOrd="0" presId="urn:microsoft.com/office/officeart/2005/8/layout/vList5"/>
    <dgm:cxn modelId="{05F6DBFC-A671-4CFD-BB26-CF097C7E2D29}" type="presParOf" srcId="{043A3F0D-9E2E-44C8-890F-E90C5D54E8BA}" destId="{ACC76401-7711-4626-82BD-20E899497DCE}" srcOrd="1" destOrd="0" presId="urn:microsoft.com/office/officeart/2005/8/layout/vList5"/>
    <dgm:cxn modelId="{38C06E6D-4CCE-4DDC-9EF1-502D7EFCAE6E}" type="presParOf" srcId="{043A3F0D-9E2E-44C8-890F-E90C5D54E8BA}" destId="{C78A51CE-08BC-46AD-ABF6-1B973659C39A}" srcOrd="2" destOrd="0" presId="urn:microsoft.com/office/officeart/2005/8/layout/vList5"/>
    <dgm:cxn modelId="{3B0A359C-FF81-4352-82B7-CBB7AB754800}" type="presParOf" srcId="{C78A51CE-08BC-46AD-ABF6-1B973659C39A}" destId="{24B93867-CF0C-460A-8137-50A8CF5BAC47}" srcOrd="0" destOrd="0" presId="urn:microsoft.com/office/officeart/2005/8/layout/vList5"/>
    <dgm:cxn modelId="{AEDF3C47-1623-4790-90E0-F2267C7312DE}" type="presParOf" srcId="{C78A51CE-08BC-46AD-ABF6-1B973659C39A}" destId="{819CBE10-590A-40D0-B9AD-62B3F6045510}" srcOrd="1" destOrd="0" presId="urn:microsoft.com/office/officeart/2005/8/layout/vList5"/>
    <dgm:cxn modelId="{4DDEFF6D-0693-44A0-B858-B44826E266E1}" type="presParOf" srcId="{043A3F0D-9E2E-44C8-890F-E90C5D54E8BA}" destId="{96E4470B-F4C0-4B2E-9C1E-C76DD5B83E85}" srcOrd="3" destOrd="0" presId="urn:microsoft.com/office/officeart/2005/8/layout/vList5"/>
    <dgm:cxn modelId="{3F95ADB2-7575-415E-8DFC-971CE2FC00B2}" type="presParOf" srcId="{043A3F0D-9E2E-44C8-890F-E90C5D54E8BA}" destId="{2FA549E5-C21B-4B7D-9E56-B0617FAA1F82}" srcOrd="4" destOrd="0" presId="urn:microsoft.com/office/officeart/2005/8/layout/vList5"/>
    <dgm:cxn modelId="{53079688-98DE-4C2B-BA6F-C8F044D6629B}" type="presParOf" srcId="{2FA549E5-C21B-4B7D-9E56-B0617FAA1F82}" destId="{0772D4BC-9589-4126-A67C-B11255F9EAD6}" srcOrd="0" destOrd="0" presId="urn:microsoft.com/office/officeart/2005/8/layout/vList5"/>
    <dgm:cxn modelId="{55BDAAD9-48E9-4C6E-A219-D37B842D6115}" type="presParOf" srcId="{2FA549E5-C21B-4B7D-9E56-B0617FAA1F82}" destId="{A271DEB0-E484-4399-9D1B-66EF5E2E5395}" srcOrd="1" destOrd="0" presId="urn:microsoft.com/office/officeart/2005/8/layout/vList5"/>
    <dgm:cxn modelId="{DEB58232-53BC-40F3-B959-CB8C57BB9BD8}" type="presParOf" srcId="{043A3F0D-9E2E-44C8-890F-E90C5D54E8BA}" destId="{39D08B2F-5938-4663-8C97-F24AC05E0A2F}" srcOrd="5" destOrd="0" presId="urn:microsoft.com/office/officeart/2005/8/layout/vList5"/>
    <dgm:cxn modelId="{6CA71967-A13D-4926-81B2-C7E87BFF5E6F}" type="presParOf" srcId="{043A3F0D-9E2E-44C8-890F-E90C5D54E8BA}" destId="{6E4AFE44-4847-4443-920A-31F78486C101}" srcOrd="6" destOrd="0" presId="urn:microsoft.com/office/officeart/2005/8/layout/vList5"/>
    <dgm:cxn modelId="{86D1C8D3-7B59-435C-9973-D83C9B2F8BE1}" type="presParOf" srcId="{6E4AFE44-4847-4443-920A-31F78486C101}" destId="{D0DC8022-022E-4802-A593-DF8ABF645F19}" srcOrd="0" destOrd="0" presId="urn:microsoft.com/office/officeart/2005/8/layout/vList5"/>
    <dgm:cxn modelId="{801321D7-BCC1-4F8B-AB80-7C8D5CA256E2}" type="presParOf" srcId="{6E4AFE44-4847-4443-920A-31F78486C101}" destId="{EF2A75A6-0FF7-4F84-927D-D49439E151A5}"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C836DA-C749-4604-81FF-A352BE52D2D7}" type="doc">
      <dgm:prSet loTypeId="urn:microsoft.com/office/officeart/2005/8/layout/hList7" loCatId="list" qsTypeId="urn:microsoft.com/office/officeart/2005/8/quickstyle/simple1" qsCatId="simple" csTypeId="urn:microsoft.com/office/officeart/2005/8/colors/colorful4" csCatId="colorful" phldr="1"/>
      <dgm:spPr/>
    </dgm:pt>
    <dgm:pt modelId="{FD70226B-413B-41B3-87A4-D3A71A1EA2A9}">
      <dgm:prSet phldrT="[Text]"/>
      <dgm:spPr/>
      <dgm:t>
        <a:bodyPr/>
        <a:lstStyle/>
        <a:p>
          <a:r>
            <a:rPr lang="en-US"/>
            <a:t>Home Language Survey</a:t>
          </a:r>
        </a:p>
      </dgm:t>
    </dgm:pt>
    <dgm:pt modelId="{16EFF80E-A8A8-48B9-87DE-271B1BFE6C16}" type="parTrans" cxnId="{08CC1CFA-F15A-4ED0-A0EE-49FA82D14C01}">
      <dgm:prSet/>
      <dgm:spPr/>
      <dgm:t>
        <a:bodyPr/>
        <a:lstStyle/>
        <a:p>
          <a:endParaRPr lang="en-US"/>
        </a:p>
      </dgm:t>
    </dgm:pt>
    <dgm:pt modelId="{37A2A9FE-22A1-4B96-B525-BD1BE9B32F8D}" type="sibTrans" cxnId="{08CC1CFA-F15A-4ED0-A0EE-49FA82D14C01}">
      <dgm:prSet/>
      <dgm:spPr/>
      <dgm:t>
        <a:bodyPr/>
        <a:lstStyle/>
        <a:p>
          <a:endParaRPr lang="en-US"/>
        </a:p>
      </dgm:t>
    </dgm:pt>
    <dgm:pt modelId="{3CEA849A-EE6C-4D92-BB19-D527E1BA0239}">
      <dgm:prSet phldrT="[Text]"/>
      <dgm:spPr/>
      <dgm:t>
        <a:bodyPr/>
        <a:lstStyle/>
        <a:p>
          <a:r>
            <a:rPr lang="en-US"/>
            <a:t>Program Placement</a:t>
          </a:r>
        </a:p>
      </dgm:t>
    </dgm:pt>
    <dgm:pt modelId="{5C7D6B7F-A3D9-489E-BAF2-AC7B56673FE3}" type="parTrans" cxnId="{B26CBFEF-5BFF-49E1-B1E6-E4F33E62BA0E}">
      <dgm:prSet/>
      <dgm:spPr/>
      <dgm:t>
        <a:bodyPr/>
        <a:lstStyle/>
        <a:p>
          <a:endParaRPr lang="en-US"/>
        </a:p>
      </dgm:t>
    </dgm:pt>
    <dgm:pt modelId="{B1C36F55-083C-4674-9A63-E827DA845897}" type="sibTrans" cxnId="{B26CBFEF-5BFF-49E1-B1E6-E4F33E62BA0E}">
      <dgm:prSet/>
      <dgm:spPr/>
      <dgm:t>
        <a:bodyPr/>
        <a:lstStyle/>
        <a:p>
          <a:endParaRPr lang="en-US"/>
        </a:p>
      </dgm:t>
    </dgm:pt>
    <dgm:pt modelId="{E6A168BD-3B37-4FF5-A619-107A2BF2F49D}">
      <dgm:prSet phldrT="[Text]"/>
      <dgm:spPr/>
      <dgm:t>
        <a:bodyPr/>
        <a:lstStyle/>
        <a:p>
          <a:r>
            <a:rPr lang="en-US"/>
            <a:t>Parental Denials</a:t>
          </a:r>
        </a:p>
      </dgm:t>
    </dgm:pt>
    <dgm:pt modelId="{3811A087-3C70-4310-B48B-09625C4B3DE2}" type="parTrans" cxnId="{2EC9A456-53AC-444B-90D8-9BC31E6E455F}">
      <dgm:prSet/>
      <dgm:spPr/>
      <dgm:t>
        <a:bodyPr/>
        <a:lstStyle/>
        <a:p>
          <a:endParaRPr lang="en-US"/>
        </a:p>
      </dgm:t>
    </dgm:pt>
    <dgm:pt modelId="{386B1F5B-9110-4562-99C7-2648C892AF54}" type="sibTrans" cxnId="{2EC9A456-53AC-444B-90D8-9BC31E6E455F}">
      <dgm:prSet/>
      <dgm:spPr/>
      <dgm:t>
        <a:bodyPr/>
        <a:lstStyle/>
        <a:p>
          <a:endParaRPr lang="en-US"/>
        </a:p>
      </dgm:t>
    </dgm:pt>
    <dgm:pt modelId="{47BC4DB8-CB83-407A-B490-A0636A97DA6D}">
      <dgm:prSet phldrT="[Text]"/>
      <dgm:spPr/>
      <dgm:t>
        <a:bodyPr/>
        <a:lstStyle/>
        <a:p>
          <a:r>
            <a:rPr lang="en-US"/>
            <a:t>Reclassification</a:t>
          </a:r>
        </a:p>
      </dgm:t>
    </dgm:pt>
    <dgm:pt modelId="{93C4AC50-3F6F-452E-B761-64C8E423C955}" type="parTrans" cxnId="{004A2FA0-A838-4B42-B676-0022E52C79A6}">
      <dgm:prSet/>
      <dgm:spPr/>
      <dgm:t>
        <a:bodyPr/>
        <a:lstStyle/>
        <a:p>
          <a:endParaRPr lang="en-US"/>
        </a:p>
      </dgm:t>
    </dgm:pt>
    <dgm:pt modelId="{7DF7508A-591B-4DE4-88BF-4CC91571425B}" type="sibTrans" cxnId="{004A2FA0-A838-4B42-B676-0022E52C79A6}">
      <dgm:prSet/>
      <dgm:spPr/>
      <dgm:t>
        <a:bodyPr/>
        <a:lstStyle/>
        <a:p>
          <a:endParaRPr lang="en-US"/>
        </a:p>
      </dgm:t>
    </dgm:pt>
    <dgm:pt modelId="{47CDEB24-F1F6-4764-8D9A-0DC0203A6871}">
      <dgm:prSet phldrT="[Text]"/>
      <dgm:spPr/>
      <dgm:t>
        <a:bodyPr/>
        <a:lstStyle/>
        <a:p>
          <a:r>
            <a:rPr lang="en-US"/>
            <a:t>Change of Program Placement</a:t>
          </a:r>
        </a:p>
      </dgm:t>
    </dgm:pt>
    <dgm:pt modelId="{3A1E8011-47D9-4556-B58A-603A9DC760DC}" type="parTrans" cxnId="{4D757663-F4B6-45F5-B9DD-694840078999}">
      <dgm:prSet/>
      <dgm:spPr/>
      <dgm:t>
        <a:bodyPr/>
        <a:lstStyle/>
        <a:p>
          <a:endParaRPr lang="en-US"/>
        </a:p>
      </dgm:t>
    </dgm:pt>
    <dgm:pt modelId="{514147E5-D887-4815-A6DE-126F575192E6}" type="sibTrans" cxnId="{4D757663-F4B6-45F5-B9DD-694840078999}">
      <dgm:prSet/>
      <dgm:spPr/>
      <dgm:t>
        <a:bodyPr/>
        <a:lstStyle/>
        <a:p>
          <a:endParaRPr lang="en-US"/>
        </a:p>
      </dgm:t>
    </dgm:pt>
    <dgm:pt modelId="{51B623B4-F95A-4D3A-B23D-FC19BDAC379F}" type="pres">
      <dgm:prSet presAssocID="{2FC836DA-C749-4604-81FF-A352BE52D2D7}" presName="Name0" presStyleCnt="0">
        <dgm:presLayoutVars>
          <dgm:dir/>
          <dgm:resizeHandles val="exact"/>
        </dgm:presLayoutVars>
      </dgm:prSet>
      <dgm:spPr/>
    </dgm:pt>
    <dgm:pt modelId="{A491F17D-186C-441E-B749-5858B9908748}" type="pres">
      <dgm:prSet presAssocID="{2FC836DA-C749-4604-81FF-A352BE52D2D7}" presName="fgShape" presStyleLbl="fgShp" presStyleIdx="0" presStyleCnt="1"/>
      <dgm:spPr/>
    </dgm:pt>
    <dgm:pt modelId="{81F10523-02E5-4BF6-8CF9-F380468FFBA7}" type="pres">
      <dgm:prSet presAssocID="{2FC836DA-C749-4604-81FF-A352BE52D2D7}" presName="linComp" presStyleCnt="0"/>
      <dgm:spPr/>
    </dgm:pt>
    <dgm:pt modelId="{4D502764-F787-434C-8A69-6FB8AFCCBC04}" type="pres">
      <dgm:prSet presAssocID="{FD70226B-413B-41B3-87A4-D3A71A1EA2A9}" presName="compNode" presStyleCnt="0"/>
      <dgm:spPr/>
    </dgm:pt>
    <dgm:pt modelId="{4222D22C-01F6-42B4-A32E-D55EFA13E299}" type="pres">
      <dgm:prSet presAssocID="{FD70226B-413B-41B3-87A4-D3A71A1EA2A9}" presName="bkgdShape" presStyleLbl="node1" presStyleIdx="0" presStyleCnt="5"/>
      <dgm:spPr/>
    </dgm:pt>
    <dgm:pt modelId="{C1093C52-E41B-4F67-8100-9751117BE79E}" type="pres">
      <dgm:prSet presAssocID="{FD70226B-413B-41B3-87A4-D3A71A1EA2A9}" presName="nodeTx" presStyleLbl="node1" presStyleIdx="0" presStyleCnt="5">
        <dgm:presLayoutVars>
          <dgm:bulletEnabled val="1"/>
        </dgm:presLayoutVars>
      </dgm:prSet>
      <dgm:spPr/>
    </dgm:pt>
    <dgm:pt modelId="{A6F887D8-4497-46CB-A7E9-6387EDBFE3C7}" type="pres">
      <dgm:prSet presAssocID="{FD70226B-413B-41B3-87A4-D3A71A1EA2A9}" presName="invisiNode" presStyleLbl="node1" presStyleIdx="0" presStyleCnt="5"/>
      <dgm:spPr/>
    </dgm:pt>
    <dgm:pt modelId="{F552BF8A-1206-464E-B0C3-19B29AD45F39}" type="pres">
      <dgm:prSet presAssocID="{FD70226B-413B-41B3-87A4-D3A71A1EA2A9}" presName="imagNode" presStyleLbl="fgImgPlac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Home with solid fill"/>
        </a:ext>
      </dgm:extLst>
    </dgm:pt>
    <dgm:pt modelId="{8964671B-9E34-4EF6-87C6-0786F9BAB7A8}" type="pres">
      <dgm:prSet presAssocID="{37A2A9FE-22A1-4B96-B525-BD1BE9B32F8D}" presName="sibTrans" presStyleLbl="sibTrans2D1" presStyleIdx="0" presStyleCnt="0"/>
      <dgm:spPr/>
    </dgm:pt>
    <dgm:pt modelId="{5F1FE8A5-54B3-4690-BDF4-632E81D0C579}" type="pres">
      <dgm:prSet presAssocID="{3CEA849A-EE6C-4D92-BB19-D527E1BA0239}" presName="compNode" presStyleCnt="0"/>
      <dgm:spPr/>
    </dgm:pt>
    <dgm:pt modelId="{5A29E25D-C835-46DF-B272-76198F5755C2}" type="pres">
      <dgm:prSet presAssocID="{3CEA849A-EE6C-4D92-BB19-D527E1BA0239}" presName="bkgdShape" presStyleLbl="node1" presStyleIdx="1" presStyleCnt="5"/>
      <dgm:spPr/>
    </dgm:pt>
    <dgm:pt modelId="{02E6362E-7E7B-453D-9B30-355F92CEEEAC}" type="pres">
      <dgm:prSet presAssocID="{3CEA849A-EE6C-4D92-BB19-D527E1BA0239}" presName="nodeTx" presStyleLbl="node1" presStyleIdx="1" presStyleCnt="5">
        <dgm:presLayoutVars>
          <dgm:bulletEnabled val="1"/>
        </dgm:presLayoutVars>
      </dgm:prSet>
      <dgm:spPr/>
    </dgm:pt>
    <dgm:pt modelId="{D7C51865-45C8-4AA2-AF1C-3EA1FA0D3C04}" type="pres">
      <dgm:prSet presAssocID="{3CEA849A-EE6C-4D92-BB19-D527E1BA0239}" presName="invisiNode" presStyleLbl="node1" presStyleIdx="1" presStyleCnt="5"/>
      <dgm:spPr/>
    </dgm:pt>
    <dgm:pt modelId="{936A2A6F-89DE-4DF0-B873-4AF310128302}" type="pres">
      <dgm:prSet presAssocID="{3CEA849A-EE6C-4D92-BB19-D527E1BA0239}" presName="imagNode" presStyleLbl="fgImgPlac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Storytelling with solid fill"/>
        </a:ext>
      </dgm:extLst>
    </dgm:pt>
    <dgm:pt modelId="{D8C5072E-71F3-4C7E-98FE-7B635C840798}" type="pres">
      <dgm:prSet presAssocID="{B1C36F55-083C-4674-9A63-E827DA845897}" presName="sibTrans" presStyleLbl="sibTrans2D1" presStyleIdx="0" presStyleCnt="0"/>
      <dgm:spPr/>
    </dgm:pt>
    <dgm:pt modelId="{2BD53F7F-87EF-46AB-B3AD-996C2B3301FE}" type="pres">
      <dgm:prSet presAssocID="{E6A168BD-3B37-4FF5-A619-107A2BF2F49D}" presName="compNode" presStyleCnt="0"/>
      <dgm:spPr/>
    </dgm:pt>
    <dgm:pt modelId="{D5E4F09A-0877-4E8E-A1E7-0992D8D59927}" type="pres">
      <dgm:prSet presAssocID="{E6A168BD-3B37-4FF5-A619-107A2BF2F49D}" presName="bkgdShape" presStyleLbl="node1" presStyleIdx="2" presStyleCnt="5"/>
      <dgm:spPr/>
    </dgm:pt>
    <dgm:pt modelId="{BE6DFB4E-BE70-4937-9CE8-08AC25A95247}" type="pres">
      <dgm:prSet presAssocID="{E6A168BD-3B37-4FF5-A619-107A2BF2F49D}" presName="nodeTx" presStyleLbl="node1" presStyleIdx="2" presStyleCnt="5">
        <dgm:presLayoutVars>
          <dgm:bulletEnabled val="1"/>
        </dgm:presLayoutVars>
      </dgm:prSet>
      <dgm:spPr/>
    </dgm:pt>
    <dgm:pt modelId="{AFFE5DE3-39E2-42A1-809B-BCBBEDD46ECE}" type="pres">
      <dgm:prSet presAssocID="{E6A168BD-3B37-4FF5-A619-107A2BF2F49D}" presName="invisiNode" presStyleLbl="node1" presStyleIdx="2" presStyleCnt="5"/>
      <dgm:spPr/>
    </dgm:pt>
    <dgm:pt modelId="{F35216CF-A6C4-484E-B982-B9CCA191908C}" type="pres">
      <dgm:prSet presAssocID="{E6A168BD-3B37-4FF5-A619-107A2BF2F49D}" presName="imagNode" presStyleLbl="fgImgPlac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No sign with solid fill"/>
        </a:ext>
      </dgm:extLst>
    </dgm:pt>
    <dgm:pt modelId="{1E0DEDC4-EF21-4B99-B0D6-87ABBA0F692D}" type="pres">
      <dgm:prSet presAssocID="{386B1F5B-9110-4562-99C7-2648C892AF54}" presName="sibTrans" presStyleLbl="sibTrans2D1" presStyleIdx="0" presStyleCnt="0"/>
      <dgm:spPr/>
    </dgm:pt>
    <dgm:pt modelId="{9D567A40-C6C6-493E-9F2D-B53167413BE7}" type="pres">
      <dgm:prSet presAssocID="{47BC4DB8-CB83-407A-B490-A0636A97DA6D}" presName="compNode" presStyleCnt="0"/>
      <dgm:spPr/>
    </dgm:pt>
    <dgm:pt modelId="{3146AAAE-72B9-43B4-B91A-31AB8B904A68}" type="pres">
      <dgm:prSet presAssocID="{47BC4DB8-CB83-407A-B490-A0636A97DA6D}" presName="bkgdShape" presStyleLbl="node1" presStyleIdx="3" presStyleCnt="5"/>
      <dgm:spPr/>
    </dgm:pt>
    <dgm:pt modelId="{4F1EC6BE-7F52-426C-882D-B20EDFF08147}" type="pres">
      <dgm:prSet presAssocID="{47BC4DB8-CB83-407A-B490-A0636A97DA6D}" presName="nodeTx" presStyleLbl="node1" presStyleIdx="3" presStyleCnt="5">
        <dgm:presLayoutVars>
          <dgm:bulletEnabled val="1"/>
        </dgm:presLayoutVars>
      </dgm:prSet>
      <dgm:spPr/>
    </dgm:pt>
    <dgm:pt modelId="{11CDCE14-081A-4B37-825D-4DBDBE2CBEA1}" type="pres">
      <dgm:prSet presAssocID="{47BC4DB8-CB83-407A-B490-A0636A97DA6D}" presName="invisiNode" presStyleLbl="node1" presStyleIdx="3" presStyleCnt="5"/>
      <dgm:spPr/>
    </dgm:pt>
    <dgm:pt modelId="{157320B8-458B-4A5D-860F-BCBAE5D17593}" type="pres">
      <dgm:prSet presAssocID="{47BC4DB8-CB83-407A-B490-A0636A97DA6D}" presName="imagNode" presStyleLbl="fgImgPlac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hat with solid fill"/>
        </a:ext>
      </dgm:extLst>
    </dgm:pt>
    <dgm:pt modelId="{3EA54C42-7539-45EC-A558-4D8280D56650}" type="pres">
      <dgm:prSet presAssocID="{7DF7508A-591B-4DE4-88BF-4CC91571425B}" presName="sibTrans" presStyleLbl="sibTrans2D1" presStyleIdx="0" presStyleCnt="0"/>
      <dgm:spPr/>
    </dgm:pt>
    <dgm:pt modelId="{13FC4DEF-1274-407A-BB2D-C38B451ED1F7}" type="pres">
      <dgm:prSet presAssocID="{47CDEB24-F1F6-4764-8D9A-0DC0203A6871}" presName="compNode" presStyleCnt="0"/>
      <dgm:spPr/>
    </dgm:pt>
    <dgm:pt modelId="{C65A1318-FF5B-40DF-B9E7-32B98049436D}" type="pres">
      <dgm:prSet presAssocID="{47CDEB24-F1F6-4764-8D9A-0DC0203A6871}" presName="bkgdShape" presStyleLbl="node1" presStyleIdx="4" presStyleCnt="5"/>
      <dgm:spPr/>
    </dgm:pt>
    <dgm:pt modelId="{51D50250-50DE-48F3-9900-1EAAB336558D}" type="pres">
      <dgm:prSet presAssocID="{47CDEB24-F1F6-4764-8D9A-0DC0203A6871}" presName="nodeTx" presStyleLbl="node1" presStyleIdx="4" presStyleCnt="5">
        <dgm:presLayoutVars>
          <dgm:bulletEnabled val="1"/>
        </dgm:presLayoutVars>
      </dgm:prSet>
      <dgm:spPr/>
    </dgm:pt>
    <dgm:pt modelId="{A1611D42-D61A-4BE0-B916-26EBCB9028A3}" type="pres">
      <dgm:prSet presAssocID="{47CDEB24-F1F6-4764-8D9A-0DC0203A6871}" presName="invisiNode" presStyleLbl="node1" presStyleIdx="4" presStyleCnt="5"/>
      <dgm:spPr/>
    </dgm:pt>
    <dgm:pt modelId="{A3488EFA-54E8-4144-9C7B-54F063FD5D8D}" type="pres">
      <dgm:prSet presAssocID="{47CDEB24-F1F6-4764-8D9A-0DC0203A6871}" presName="imagNode" presStyleLbl="fgImgPlac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Route (Two Pins With A Path) with solid fill"/>
        </a:ext>
      </dgm:extLst>
    </dgm:pt>
  </dgm:ptLst>
  <dgm:cxnLst>
    <dgm:cxn modelId="{94C9960F-3584-4734-8228-C3DB030D876E}" type="presOf" srcId="{47BC4DB8-CB83-407A-B490-A0636A97DA6D}" destId="{4F1EC6BE-7F52-426C-882D-B20EDFF08147}" srcOrd="1" destOrd="0" presId="urn:microsoft.com/office/officeart/2005/8/layout/hList7"/>
    <dgm:cxn modelId="{5FA4C11B-EEE6-4E23-8F2A-564DA08B8B46}" type="presOf" srcId="{2FC836DA-C749-4604-81FF-A352BE52D2D7}" destId="{51B623B4-F95A-4D3A-B23D-FC19BDAC379F}" srcOrd="0" destOrd="0" presId="urn:microsoft.com/office/officeart/2005/8/layout/hList7"/>
    <dgm:cxn modelId="{09D9FA24-155B-4D9C-B880-FCA8DFAF1154}" type="presOf" srcId="{47BC4DB8-CB83-407A-B490-A0636A97DA6D}" destId="{3146AAAE-72B9-43B4-B91A-31AB8B904A68}" srcOrd="0" destOrd="0" presId="urn:microsoft.com/office/officeart/2005/8/layout/hList7"/>
    <dgm:cxn modelId="{EC2F9137-A7AC-45B3-B411-32891DC7CA3F}" type="presOf" srcId="{7DF7508A-591B-4DE4-88BF-4CC91571425B}" destId="{3EA54C42-7539-45EC-A558-4D8280D56650}" srcOrd="0" destOrd="0" presId="urn:microsoft.com/office/officeart/2005/8/layout/hList7"/>
    <dgm:cxn modelId="{13596942-F1E4-4680-9131-B1104F454037}" type="presOf" srcId="{E6A168BD-3B37-4FF5-A619-107A2BF2F49D}" destId="{D5E4F09A-0877-4E8E-A1E7-0992D8D59927}" srcOrd="0" destOrd="0" presId="urn:microsoft.com/office/officeart/2005/8/layout/hList7"/>
    <dgm:cxn modelId="{4D757663-F4B6-45F5-B9DD-694840078999}" srcId="{2FC836DA-C749-4604-81FF-A352BE52D2D7}" destId="{47CDEB24-F1F6-4764-8D9A-0DC0203A6871}" srcOrd="4" destOrd="0" parTransId="{3A1E8011-47D9-4556-B58A-603A9DC760DC}" sibTransId="{514147E5-D887-4815-A6DE-126F575192E6}"/>
    <dgm:cxn modelId="{A2984D44-1647-4B7D-BB90-C86D4130259A}" type="presOf" srcId="{B1C36F55-083C-4674-9A63-E827DA845897}" destId="{D8C5072E-71F3-4C7E-98FE-7B635C840798}" srcOrd="0" destOrd="0" presId="urn:microsoft.com/office/officeart/2005/8/layout/hList7"/>
    <dgm:cxn modelId="{2D6FF24A-CFF8-4B9F-BB5A-58C4E8932274}" type="presOf" srcId="{FD70226B-413B-41B3-87A4-D3A71A1EA2A9}" destId="{4222D22C-01F6-42B4-A32E-D55EFA13E299}" srcOrd="0" destOrd="0" presId="urn:microsoft.com/office/officeart/2005/8/layout/hList7"/>
    <dgm:cxn modelId="{6522F86B-383E-46BA-A9F9-923EC6B0DFDF}" type="presOf" srcId="{386B1F5B-9110-4562-99C7-2648C892AF54}" destId="{1E0DEDC4-EF21-4B99-B0D6-87ABBA0F692D}" srcOrd="0" destOrd="0" presId="urn:microsoft.com/office/officeart/2005/8/layout/hList7"/>
    <dgm:cxn modelId="{2EC9A456-53AC-444B-90D8-9BC31E6E455F}" srcId="{2FC836DA-C749-4604-81FF-A352BE52D2D7}" destId="{E6A168BD-3B37-4FF5-A619-107A2BF2F49D}" srcOrd="2" destOrd="0" parTransId="{3811A087-3C70-4310-B48B-09625C4B3DE2}" sibTransId="{386B1F5B-9110-4562-99C7-2648C892AF54}"/>
    <dgm:cxn modelId="{B917C377-10FA-4616-A8F2-0478C5064F08}" type="presOf" srcId="{E6A168BD-3B37-4FF5-A619-107A2BF2F49D}" destId="{BE6DFB4E-BE70-4937-9CE8-08AC25A95247}" srcOrd="1" destOrd="0" presId="urn:microsoft.com/office/officeart/2005/8/layout/hList7"/>
    <dgm:cxn modelId="{30B3D857-34D6-45E1-8C11-79E4914CA14A}" type="presOf" srcId="{37A2A9FE-22A1-4B96-B525-BD1BE9B32F8D}" destId="{8964671B-9E34-4EF6-87C6-0786F9BAB7A8}" srcOrd="0" destOrd="0" presId="urn:microsoft.com/office/officeart/2005/8/layout/hList7"/>
    <dgm:cxn modelId="{45513596-1A46-4FFE-8A65-CF141EC31021}" type="presOf" srcId="{47CDEB24-F1F6-4764-8D9A-0DC0203A6871}" destId="{51D50250-50DE-48F3-9900-1EAAB336558D}" srcOrd="1" destOrd="0" presId="urn:microsoft.com/office/officeart/2005/8/layout/hList7"/>
    <dgm:cxn modelId="{004A2FA0-A838-4B42-B676-0022E52C79A6}" srcId="{2FC836DA-C749-4604-81FF-A352BE52D2D7}" destId="{47BC4DB8-CB83-407A-B490-A0636A97DA6D}" srcOrd="3" destOrd="0" parTransId="{93C4AC50-3F6F-452E-B761-64C8E423C955}" sibTransId="{7DF7508A-591B-4DE4-88BF-4CC91571425B}"/>
    <dgm:cxn modelId="{95519DA0-F12C-44A8-BE24-2890237C059B}" type="presOf" srcId="{3CEA849A-EE6C-4D92-BB19-D527E1BA0239}" destId="{5A29E25D-C835-46DF-B272-76198F5755C2}" srcOrd="0" destOrd="0" presId="urn:microsoft.com/office/officeart/2005/8/layout/hList7"/>
    <dgm:cxn modelId="{E7873FA8-E047-4699-8517-7375FD1132D1}" type="presOf" srcId="{3CEA849A-EE6C-4D92-BB19-D527E1BA0239}" destId="{02E6362E-7E7B-453D-9B30-355F92CEEEAC}" srcOrd="1" destOrd="0" presId="urn:microsoft.com/office/officeart/2005/8/layout/hList7"/>
    <dgm:cxn modelId="{716F44DF-BD77-4E15-8E60-C2E6F3FDFED3}" type="presOf" srcId="{FD70226B-413B-41B3-87A4-D3A71A1EA2A9}" destId="{C1093C52-E41B-4F67-8100-9751117BE79E}" srcOrd="1" destOrd="0" presId="urn:microsoft.com/office/officeart/2005/8/layout/hList7"/>
    <dgm:cxn modelId="{9302A6E1-15DE-45C3-9065-196EA0C24BBE}" type="presOf" srcId="{47CDEB24-F1F6-4764-8D9A-0DC0203A6871}" destId="{C65A1318-FF5B-40DF-B9E7-32B98049436D}" srcOrd="0" destOrd="0" presId="urn:microsoft.com/office/officeart/2005/8/layout/hList7"/>
    <dgm:cxn modelId="{B26CBFEF-5BFF-49E1-B1E6-E4F33E62BA0E}" srcId="{2FC836DA-C749-4604-81FF-A352BE52D2D7}" destId="{3CEA849A-EE6C-4D92-BB19-D527E1BA0239}" srcOrd="1" destOrd="0" parTransId="{5C7D6B7F-A3D9-489E-BAF2-AC7B56673FE3}" sibTransId="{B1C36F55-083C-4674-9A63-E827DA845897}"/>
    <dgm:cxn modelId="{08CC1CFA-F15A-4ED0-A0EE-49FA82D14C01}" srcId="{2FC836DA-C749-4604-81FF-A352BE52D2D7}" destId="{FD70226B-413B-41B3-87A4-D3A71A1EA2A9}" srcOrd="0" destOrd="0" parTransId="{16EFF80E-A8A8-48B9-87DE-271B1BFE6C16}" sibTransId="{37A2A9FE-22A1-4B96-B525-BD1BE9B32F8D}"/>
    <dgm:cxn modelId="{95A21AB6-2FF2-45FE-8C50-E06A82FDA66E}" type="presParOf" srcId="{51B623B4-F95A-4D3A-B23D-FC19BDAC379F}" destId="{A491F17D-186C-441E-B749-5858B9908748}" srcOrd="0" destOrd="0" presId="urn:microsoft.com/office/officeart/2005/8/layout/hList7"/>
    <dgm:cxn modelId="{1EC3DB8E-C6B3-436F-8CB3-CB25C9845F52}" type="presParOf" srcId="{51B623B4-F95A-4D3A-B23D-FC19BDAC379F}" destId="{81F10523-02E5-4BF6-8CF9-F380468FFBA7}" srcOrd="1" destOrd="0" presId="urn:microsoft.com/office/officeart/2005/8/layout/hList7"/>
    <dgm:cxn modelId="{46FC2A9F-2CF9-49E4-ADDF-B6214E63FF30}" type="presParOf" srcId="{81F10523-02E5-4BF6-8CF9-F380468FFBA7}" destId="{4D502764-F787-434C-8A69-6FB8AFCCBC04}" srcOrd="0" destOrd="0" presId="urn:microsoft.com/office/officeart/2005/8/layout/hList7"/>
    <dgm:cxn modelId="{35E2DEF4-35CD-440B-8FF1-2A46C874483D}" type="presParOf" srcId="{4D502764-F787-434C-8A69-6FB8AFCCBC04}" destId="{4222D22C-01F6-42B4-A32E-D55EFA13E299}" srcOrd="0" destOrd="0" presId="urn:microsoft.com/office/officeart/2005/8/layout/hList7"/>
    <dgm:cxn modelId="{E8B43EDA-24D8-4925-9809-31D42BC78847}" type="presParOf" srcId="{4D502764-F787-434C-8A69-6FB8AFCCBC04}" destId="{C1093C52-E41B-4F67-8100-9751117BE79E}" srcOrd="1" destOrd="0" presId="urn:microsoft.com/office/officeart/2005/8/layout/hList7"/>
    <dgm:cxn modelId="{2495D449-304E-49D8-81E1-47F5FCC0EDD6}" type="presParOf" srcId="{4D502764-F787-434C-8A69-6FB8AFCCBC04}" destId="{A6F887D8-4497-46CB-A7E9-6387EDBFE3C7}" srcOrd="2" destOrd="0" presId="urn:microsoft.com/office/officeart/2005/8/layout/hList7"/>
    <dgm:cxn modelId="{43090F19-82B4-44D8-9920-436547C2A3E2}" type="presParOf" srcId="{4D502764-F787-434C-8A69-6FB8AFCCBC04}" destId="{F552BF8A-1206-464E-B0C3-19B29AD45F39}" srcOrd="3" destOrd="0" presId="urn:microsoft.com/office/officeart/2005/8/layout/hList7"/>
    <dgm:cxn modelId="{E8D47B62-532F-4958-B835-823689E4ACCA}" type="presParOf" srcId="{81F10523-02E5-4BF6-8CF9-F380468FFBA7}" destId="{8964671B-9E34-4EF6-87C6-0786F9BAB7A8}" srcOrd="1" destOrd="0" presId="urn:microsoft.com/office/officeart/2005/8/layout/hList7"/>
    <dgm:cxn modelId="{1588A260-36BE-4E0D-A027-3C5AEA3FB1ED}" type="presParOf" srcId="{81F10523-02E5-4BF6-8CF9-F380468FFBA7}" destId="{5F1FE8A5-54B3-4690-BDF4-632E81D0C579}" srcOrd="2" destOrd="0" presId="urn:microsoft.com/office/officeart/2005/8/layout/hList7"/>
    <dgm:cxn modelId="{EE63DAA1-75D3-40A5-A22F-8441C8564468}" type="presParOf" srcId="{5F1FE8A5-54B3-4690-BDF4-632E81D0C579}" destId="{5A29E25D-C835-46DF-B272-76198F5755C2}" srcOrd="0" destOrd="0" presId="urn:microsoft.com/office/officeart/2005/8/layout/hList7"/>
    <dgm:cxn modelId="{DA3399B9-6E6D-4B87-9E0D-0C266E86EEE6}" type="presParOf" srcId="{5F1FE8A5-54B3-4690-BDF4-632E81D0C579}" destId="{02E6362E-7E7B-453D-9B30-355F92CEEEAC}" srcOrd="1" destOrd="0" presId="urn:microsoft.com/office/officeart/2005/8/layout/hList7"/>
    <dgm:cxn modelId="{E02CAF70-097C-4821-99FB-D87919DA6A1C}" type="presParOf" srcId="{5F1FE8A5-54B3-4690-BDF4-632E81D0C579}" destId="{D7C51865-45C8-4AA2-AF1C-3EA1FA0D3C04}" srcOrd="2" destOrd="0" presId="urn:microsoft.com/office/officeart/2005/8/layout/hList7"/>
    <dgm:cxn modelId="{0D69F6E6-0994-4907-9121-A3883CA58966}" type="presParOf" srcId="{5F1FE8A5-54B3-4690-BDF4-632E81D0C579}" destId="{936A2A6F-89DE-4DF0-B873-4AF310128302}" srcOrd="3" destOrd="0" presId="urn:microsoft.com/office/officeart/2005/8/layout/hList7"/>
    <dgm:cxn modelId="{CA26F3F4-9634-45F1-94E0-F355B9492103}" type="presParOf" srcId="{81F10523-02E5-4BF6-8CF9-F380468FFBA7}" destId="{D8C5072E-71F3-4C7E-98FE-7B635C840798}" srcOrd="3" destOrd="0" presId="urn:microsoft.com/office/officeart/2005/8/layout/hList7"/>
    <dgm:cxn modelId="{507027ED-A889-494D-AF89-F1FA0AD6ED7C}" type="presParOf" srcId="{81F10523-02E5-4BF6-8CF9-F380468FFBA7}" destId="{2BD53F7F-87EF-46AB-B3AD-996C2B3301FE}" srcOrd="4" destOrd="0" presId="urn:microsoft.com/office/officeart/2005/8/layout/hList7"/>
    <dgm:cxn modelId="{A6119930-2719-46A6-8EC0-395CA4A9D494}" type="presParOf" srcId="{2BD53F7F-87EF-46AB-B3AD-996C2B3301FE}" destId="{D5E4F09A-0877-4E8E-A1E7-0992D8D59927}" srcOrd="0" destOrd="0" presId="urn:microsoft.com/office/officeart/2005/8/layout/hList7"/>
    <dgm:cxn modelId="{6173E6A0-8244-485D-AB0B-8CF8F309AA49}" type="presParOf" srcId="{2BD53F7F-87EF-46AB-B3AD-996C2B3301FE}" destId="{BE6DFB4E-BE70-4937-9CE8-08AC25A95247}" srcOrd="1" destOrd="0" presId="urn:microsoft.com/office/officeart/2005/8/layout/hList7"/>
    <dgm:cxn modelId="{49FBEA04-26C5-4148-85F9-542C2795EBF8}" type="presParOf" srcId="{2BD53F7F-87EF-46AB-B3AD-996C2B3301FE}" destId="{AFFE5DE3-39E2-42A1-809B-BCBBEDD46ECE}" srcOrd="2" destOrd="0" presId="urn:microsoft.com/office/officeart/2005/8/layout/hList7"/>
    <dgm:cxn modelId="{51AF5552-0103-4C97-A3A5-4E34C4754157}" type="presParOf" srcId="{2BD53F7F-87EF-46AB-B3AD-996C2B3301FE}" destId="{F35216CF-A6C4-484E-B982-B9CCA191908C}" srcOrd="3" destOrd="0" presId="urn:microsoft.com/office/officeart/2005/8/layout/hList7"/>
    <dgm:cxn modelId="{BABABBF4-F0F0-44A4-9CAB-B93527BAF8E8}" type="presParOf" srcId="{81F10523-02E5-4BF6-8CF9-F380468FFBA7}" destId="{1E0DEDC4-EF21-4B99-B0D6-87ABBA0F692D}" srcOrd="5" destOrd="0" presId="urn:microsoft.com/office/officeart/2005/8/layout/hList7"/>
    <dgm:cxn modelId="{81200E2B-638B-4C2B-8CAF-AFEFF9F503D7}" type="presParOf" srcId="{81F10523-02E5-4BF6-8CF9-F380468FFBA7}" destId="{9D567A40-C6C6-493E-9F2D-B53167413BE7}" srcOrd="6" destOrd="0" presId="urn:microsoft.com/office/officeart/2005/8/layout/hList7"/>
    <dgm:cxn modelId="{D0F44658-C8DD-4B84-A054-8790D00ED2CC}" type="presParOf" srcId="{9D567A40-C6C6-493E-9F2D-B53167413BE7}" destId="{3146AAAE-72B9-43B4-B91A-31AB8B904A68}" srcOrd="0" destOrd="0" presId="urn:microsoft.com/office/officeart/2005/8/layout/hList7"/>
    <dgm:cxn modelId="{C417521C-3CBB-4AF4-A4F2-7F76F08BAF00}" type="presParOf" srcId="{9D567A40-C6C6-493E-9F2D-B53167413BE7}" destId="{4F1EC6BE-7F52-426C-882D-B20EDFF08147}" srcOrd="1" destOrd="0" presId="urn:microsoft.com/office/officeart/2005/8/layout/hList7"/>
    <dgm:cxn modelId="{12BDBEB5-C062-4866-98F2-DD5874ADE535}" type="presParOf" srcId="{9D567A40-C6C6-493E-9F2D-B53167413BE7}" destId="{11CDCE14-081A-4B37-825D-4DBDBE2CBEA1}" srcOrd="2" destOrd="0" presId="urn:microsoft.com/office/officeart/2005/8/layout/hList7"/>
    <dgm:cxn modelId="{AA72AAB9-0C49-4DDD-8DBF-450E00A437F9}" type="presParOf" srcId="{9D567A40-C6C6-493E-9F2D-B53167413BE7}" destId="{157320B8-458B-4A5D-860F-BCBAE5D17593}" srcOrd="3" destOrd="0" presId="urn:microsoft.com/office/officeart/2005/8/layout/hList7"/>
    <dgm:cxn modelId="{9A8B9CF2-5A06-473E-AF5A-2D70F8505BE3}" type="presParOf" srcId="{81F10523-02E5-4BF6-8CF9-F380468FFBA7}" destId="{3EA54C42-7539-45EC-A558-4D8280D56650}" srcOrd="7" destOrd="0" presId="urn:microsoft.com/office/officeart/2005/8/layout/hList7"/>
    <dgm:cxn modelId="{71C80155-753E-4781-8732-4C6E000F345F}" type="presParOf" srcId="{81F10523-02E5-4BF6-8CF9-F380468FFBA7}" destId="{13FC4DEF-1274-407A-BB2D-C38B451ED1F7}" srcOrd="8" destOrd="0" presId="urn:microsoft.com/office/officeart/2005/8/layout/hList7"/>
    <dgm:cxn modelId="{59A7FEB3-A85D-4C15-B115-FB5EB6301A9B}" type="presParOf" srcId="{13FC4DEF-1274-407A-BB2D-C38B451ED1F7}" destId="{C65A1318-FF5B-40DF-B9E7-32B98049436D}" srcOrd="0" destOrd="0" presId="urn:microsoft.com/office/officeart/2005/8/layout/hList7"/>
    <dgm:cxn modelId="{AE7C47E9-F11C-4FF5-B50D-42BAE2CCF516}" type="presParOf" srcId="{13FC4DEF-1274-407A-BB2D-C38B451ED1F7}" destId="{51D50250-50DE-48F3-9900-1EAAB336558D}" srcOrd="1" destOrd="0" presId="urn:microsoft.com/office/officeart/2005/8/layout/hList7"/>
    <dgm:cxn modelId="{B26208C4-B25C-499E-9580-5C1C91199869}" type="presParOf" srcId="{13FC4DEF-1274-407A-BB2D-C38B451ED1F7}" destId="{A1611D42-D61A-4BE0-B916-26EBCB9028A3}" srcOrd="2" destOrd="0" presId="urn:microsoft.com/office/officeart/2005/8/layout/hList7"/>
    <dgm:cxn modelId="{023D3A69-E69C-4A2A-A1CF-4B591D415B79}" type="presParOf" srcId="{13FC4DEF-1274-407A-BB2D-C38B451ED1F7}" destId="{A3488EFA-54E8-4144-9C7B-54F063FD5D8D}"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4A94F5-6536-466B-8C14-CE36CA8731D4}">
      <dsp:nvSpPr>
        <dsp:cNvPr id="0" name=""/>
        <dsp:cNvSpPr/>
      </dsp:nvSpPr>
      <dsp:spPr>
        <a:xfrm rot="5400000">
          <a:off x="4977328" y="-2013531"/>
          <a:ext cx="837972" cy="50788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en-US" sz="1500" kern="1200"/>
            <a:t>Emergent Bilingual Student </a:t>
          </a:r>
        </a:p>
        <a:p>
          <a:pPr marL="114300" lvl="1" indent="-114300" algn="l" defTabSz="666750">
            <a:lnSpc>
              <a:spcPct val="90000"/>
            </a:lnSpc>
            <a:spcBef>
              <a:spcPct val="0"/>
            </a:spcBef>
            <a:spcAft>
              <a:spcPct val="15000"/>
            </a:spcAft>
            <a:buChar char="•"/>
          </a:pPr>
          <a:r>
            <a:rPr lang="en-US" sz="1500" kern="1200"/>
            <a:t>Content-Based Language Instruction (CBLI) </a:t>
          </a:r>
        </a:p>
        <a:p>
          <a:pPr marL="114300" lvl="1" indent="-114300" algn="l" defTabSz="666750">
            <a:lnSpc>
              <a:spcPct val="90000"/>
            </a:lnSpc>
            <a:spcBef>
              <a:spcPct val="0"/>
            </a:spcBef>
            <a:spcAft>
              <a:spcPct val="15000"/>
            </a:spcAft>
            <a:buChar char="•"/>
          </a:pPr>
          <a:r>
            <a:rPr lang="en-US" sz="1500" kern="1200"/>
            <a:t>Primary/ Partner Language </a:t>
          </a:r>
        </a:p>
      </dsp:txBody>
      <dsp:txXfrm rot="-5400000">
        <a:off x="2856872" y="147831"/>
        <a:ext cx="5037978" cy="756160"/>
      </dsp:txXfrm>
    </dsp:sp>
    <dsp:sp modelId="{16BCF486-A7E7-4E55-BC47-D73782F9EE37}">
      <dsp:nvSpPr>
        <dsp:cNvPr id="0" name=""/>
        <dsp:cNvSpPr/>
      </dsp:nvSpPr>
      <dsp:spPr>
        <a:xfrm>
          <a:off x="0" y="2177"/>
          <a:ext cx="2856872" cy="10474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Terminology</a:t>
          </a:r>
        </a:p>
      </dsp:txBody>
      <dsp:txXfrm>
        <a:off x="51133" y="53310"/>
        <a:ext cx="2754606" cy="945199"/>
      </dsp:txXfrm>
    </dsp:sp>
    <dsp:sp modelId="{819CBE10-590A-40D0-B9AD-62B3F6045510}">
      <dsp:nvSpPr>
        <dsp:cNvPr id="0" name=""/>
        <dsp:cNvSpPr/>
      </dsp:nvSpPr>
      <dsp:spPr>
        <a:xfrm rot="5400000">
          <a:off x="4977328" y="-913692"/>
          <a:ext cx="837972" cy="50788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228600" lvl="1" indent="-228600" algn="l" defTabSz="889000">
            <a:lnSpc>
              <a:spcPct val="90000"/>
            </a:lnSpc>
            <a:spcBef>
              <a:spcPct val="0"/>
            </a:spcBef>
            <a:spcAft>
              <a:spcPct val="15000"/>
            </a:spcAft>
            <a:buChar char="•"/>
          </a:pPr>
          <a:r>
            <a:rPr lang="en-US" sz="2000" kern="1200"/>
            <a:t>Dual Language Immersion minimum requirements for two-way and clarification on partner teaching  </a:t>
          </a:r>
        </a:p>
      </dsp:txBody>
      <dsp:txXfrm rot="-5400000">
        <a:off x="2856872" y="1247670"/>
        <a:ext cx="5037978" cy="756160"/>
      </dsp:txXfrm>
    </dsp:sp>
    <dsp:sp modelId="{24B93867-CF0C-460A-8137-50A8CF5BAC47}">
      <dsp:nvSpPr>
        <dsp:cNvPr id="0" name=""/>
        <dsp:cNvSpPr/>
      </dsp:nvSpPr>
      <dsp:spPr>
        <a:xfrm>
          <a:off x="0" y="1102016"/>
          <a:ext cx="2856872" cy="10474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Program Models </a:t>
          </a:r>
        </a:p>
      </dsp:txBody>
      <dsp:txXfrm>
        <a:off x="51133" y="1153149"/>
        <a:ext cx="2754606" cy="945199"/>
      </dsp:txXfrm>
    </dsp:sp>
    <dsp:sp modelId="{A271DEB0-E484-4399-9D1B-66EF5E2E5395}">
      <dsp:nvSpPr>
        <dsp:cNvPr id="0" name=""/>
        <dsp:cNvSpPr/>
      </dsp:nvSpPr>
      <dsp:spPr>
        <a:xfrm rot="5400000">
          <a:off x="4977328" y="186146"/>
          <a:ext cx="837972" cy="50788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228600" lvl="1" indent="-228600" algn="l" defTabSz="889000">
            <a:lnSpc>
              <a:spcPct val="90000"/>
            </a:lnSpc>
            <a:spcBef>
              <a:spcPct val="0"/>
            </a:spcBef>
            <a:spcAft>
              <a:spcPct val="15000"/>
            </a:spcAft>
            <a:buChar char="•"/>
          </a:pPr>
          <a:r>
            <a:rPr lang="en-US" sz="2000" kern="1200"/>
            <a:t>TEA state-developed form</a:t>
          </a:r>
        </a:p>
        <a:p>
          <a:pPr marL="228600" lvl="1" indent="-228600" algn="l" defTabSz="889000">
            <a:lnSpc>
              <a:spcPct val="90000"/>
            </a:lnSpc>
            <a:spcBef>
              <a:spcPct val="0"/>
            </a:spcBef>
            <a:spcAft>
              <a:spcPct val="15000"/>
            </a:spcAft>
            <a:buChar char="•"/>
          </a:pPr>
          <a:r>
            <a:rPr lang="en-US" sz="2000" kern="1200"/>
            <a:t>3</a:t>
          </a:r>
          <a:r>
            <a:rPr lang="en-US" sz="2000" kern="1200" baseline="30000"/>
            <a:t>rd</a:t>
          </a:r>
          <a:r>
            <a:rPr lang="en-US" sz="2000" kern="1200"/>
            <a:t> question</a:t>
          </a:r>
        </a:p>
      </dsp:txBody>
      <dsp:txXfrm rot="-5400000">
        <a:off x="2856872" y="2347508"/>
        <a:ext cx="5037978" cy="756160"/>
      </dsp:txXfrm>
    </dsp:sp>
    <dsp:sp modelId="{0772D4BC-9589-4126-A67C-B11255F9EAD6}">
      <dsp:nvSpPr>
        <dsp:cNvPr id="0" name=""/>
        <dsp:cNvSpPr/>
      </dsp:nvSpPr>
      <dsp:spPr>
        <a:xfrm>
          <a:off x="0" y="2201855"/>
          <a:ext cx="2856872" cy="10474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Home Language Survey</a:t>
          </a:r>
        </a:p>
      </dsp:txBody>
      <dsp:txXfrm>
        <a:off x="51133" y="2252988"/>
        <a:ext cx="2754606" cy="945199"/>
      </dsp:txXfrm>
    </dsp:sp>
    <dsp:sp modelId="{EF2A75A6-0FF7-4F84-927D-D49439E151A5}">
      <dsp:nvSpPr>
        <dsp:cNvPr id="0" name=""/>
        <dsp:cNvSpPr/>
      </dsp:nvSpPr>
      <dsp:spPr>
        <a:xfrm rot="5400000">
          <a:off x="4977328" y="1285985"/>
          <a:ext cx="837972" cy="507888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228600" lvl="1" indent="-228600" algn="l" defTabSz="889000">
            <a:lnSpc>
              <a:spcPct val="90000"/>
            </a:lnSpc>
            <a:spcBef>
              <a:spcPct val="0"/>
            </a:spcBef>
            <a:spcAft>
              <a:spcPct val="15000"/>
            </a:spcAft>
            <a:buChar char="•"/>
          </a:pPr>
          <a:r>
            <a:rPr lang="en-US" sz="2000" kern="1200"/>
            <a:t>Composite Score</a:t>
          </a:r>
        </a:p>
        <a:p>
          <a:pPr marL="228600" lvl="1" indent="-228600" algn="l" defTabSz="889000">
            <a:lnSpc>
              <a:spcPct val="90000"/>
            </a:lnSpc>
            <a:spcBef>
              <a:spcPct val="0"/>
            </a:spcBef>
            <a:spcAft>
              <a:spcPct val="15000"/>
            </a:spcAft>
            <a:buChar char="•"/>
          </a:pPr>
          <a:r>
            <a:rPr lang="en-US" sz="2000" kern="1200"/>
            <a:t>End of Year for 23-24 SY </a:t>
          </a:r>
        </a:p>
      </dsp:txBody>
      <dsp:txXfrm rot="-5400000">
        <a:off x="2856872" y="3447347"/>
        <a:ext cx="5037978" cy="756160"/>
      </dsp:txXfrm>
    </dsp:sp>
    <dsp:sp modelId="{D0DC8022-022E-4802-A593-DF8ABF645F19}">
      <dsp:nvSpPr>
        <dsp:cNvPr id="0" name=""/>
        <dsp:cNvSpPr/>
      </dsp:nvSpPr>
      <dsp:spPr>
        <a:xfrm>
          <a:off x="0" y="3301694"/>
          <a:ext cx="2856872" cy="104746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55245" rIns="110490" bIns="55245" numCol="1" spcCol="1270" anchor="ctr" anchorCtr="0">
          <a:noAutofit/>
        </a:bodyPr>
        <a:lstStyle/>
        <a:p>
          <a:pPr marL="0" lvl="0" indent="0" algn="ctr" defTabSz="1289050">
            <a:lnSpc>
              <a:spcPct val="90000"/>
            </a:lnSpc>
            <a:spcBef>
              <a:spcPct val="0"/>
            </a:spcBef>
            <a:spcAft>
              <a:spcPct val="35000"/>
            </a:spcAft>
            <a:buNone/>
          </a:pPr>
          <a:r>
            <a:rPr lang="en-US" sz="2900" kern="1200"/>
            <a:t>Reclassification</a:t>
          </a:r>
        </a:p>
      </dsp:txBody>
      <dsp:txXfrm>
        <a:off x="51133" y="3352827"/>
        <a:ext cx="2754606" cy="9451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22D22C-01F6-42B4-A32E-D55EFA13E299}">
      <dsp:nvSpPr>
        <dsp:cNvPr id="0" name=""/>
        <dsp:cNvSpPr/>
      </dsp:nvSpPr>
      <dsp:spPr>
        <a:xfrm>
          <a:off x="0" y="0"/>
          <a:ext cx="2074912" cy="4351338"/>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Home Language Survey</a:t>
          </a:r>
        </a:p>
      </dsp:txBody>
      <dsp:txXfrm>
        <a:off x="0" y="1740535"/>
        <a:ext cx="2074912" cy="1740535"/>
      </dsp:txXfrm>
    </dsp:sp>
    <dsp:sp modelId="{F552BF8A-1206-464E-B0C3-19B29AD45F39}">
      <dsp:nvSpPr>
        <dsp:cNvPr id="0" name=""/>
        <dsp:cNvSpPr/>
      </dsp:nvSpPr>
      <dsp:spPr>
        <a:xfrm>
          <a:off x="312958" y="261080"/>
          <a:ext cx="1448995" cy="144899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A29E25D-C835-46DF-B272-76198F5755C2}">
      <dsp:nvSpPr>
        <dsp:cNvPr id="0" name=""/>
        <dsp:cNvSpPr/>
      </dsp:nvSpPr>
      <dsp:spPr>
        <a:xfrm>
          <a:off x="2137159" y="0"/>
          <a:ext cx="2074912" cy="4351338"/>
        </a:xfrm>
        <a:prstGeom prst="roundRect">
          <a:avLst>
            <a:gd name="adj" fmla="val 10000"/>
          </a:avLst>
        </a:prstGeom>
        <a:solidFill>
          <a:schemeClr val="accent4">
            <a:hueOff val="-3832860"/>
            <a:satOff val="-7601"/>
            <a:lumOff val="-42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Program Placement</a:t>
          </a:r>
        </a:p>
      </dsp:txBody>
      <dsp:txXfrm>
        <a:off x="2137159" y="1740535"/>
        <a:ext cx="2074912" cy="1740535"/>
      </dsp:txXfrm>
    </dsp:sp>
    <dsp:sp modelId="{936A2A6F-89DE-4DF0-B873-4AF310128302}">
      <dsp:nvSpPr>
        <dsp:cNvPr id="0" name=""/>
        <dsp:cNvSpPr/>
      </dsp:nvSpPr>
      <dsp:spPr>
        <a:xfrm>
          <a:off x="2450117" y="261080"/>
          <a:ext cx="1448995" cy="144899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5E4F09A-0877-4E8E-A1E7-0992D8D59927}">
      <dsp:nvSpPr>
        <dsp:cNvPr id="0" name=""/>
        <dsp:cNvSpPr/>
      </dsp:nvSpPr>
      <dsp:spPr>
        <a:xfrm>
          <a:off x="4274318" y="0"/>
          <a:ext cx="2074912" cy="4351338"/>
        </a:xfrm>
        <a:prstGeom prst="roundRect">
          <a:avLst>
            <a:gd name="adj" fmla="val 10000"/>
          </a:avLst>
        </a:prstGeom>
        <a:solidFill>
          <a:schemeClr val="accent4">
            <a:hueOff val="-7665720"/>
            <a:satOff val="-15202"/>
            <a:lumOff val="-84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Parental Denials</a:t>
          </a:r>
        </a:p>
      </dsp:txBody>
      <dsp:txXfrm>
        <a:off x="4274318" y="1740535"/>
        <a:ext cx="2074912" cy="1740535"/>
      </dsp:txXfrm>
    </dsp:sp>
    <dsp:sp modelId="{F35216CF-A6C4-484E-B982-B9CCA191908C}">
      <dsp:nvSpPr>
        <dsp:cNvPr id="0" name=""/>
        <dsp:cNvSpPr/>
      </dsp:nvSpPr>
      <dsp:spPr>
        <a:xfrm>
          <a:off x="4587277" y="261080"/>
          <a:ext cx="1448995" cy="144899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46AAAE-72B9-43B4-B91A-31AB8B904A68}">
      <dsp:nvSpPr>
        <dsp:cNvPr id="0" name=""/>
        <dsp:cNvSpPr/>
      </dsp:nvSpPr>
      <dsp:spPr>
        <a:xfrm>
          <a:off x="6411478" y="0"/>
          <a:ext cx="2074912" cy="4351338"/>
        </a:xfrm>
        <a:prstGeom prst="roundRect">
          <a:avLst>
            <a:gd name="adj" fmla="val 10000"/>
          </a:avLst>
        </a:prstGeom>
        <a:solidFill>
          <a:schemeClr val="accent4">
            <a:hueOff val="-11498579"/>
            <a:satOff val="-22804"/>
            <a:lumOff val="-12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Reclassification</a:t>
          </a:r>
        </a:p>
      </dsp:txBody>
      <dsp:txXfrm>
        <a:off x="6411478" y="1740535"/>
        <a:ext cx="2074912" cy="1740535"/>
      </dsp:txXfrm>
    </dsp:sp>
    <dsp:sp modelId="{157320B8-458B-4A5D-860F-BCBAE5D17593}">
      <dsp:nvSpPr>
        <dsp:cNvPr id="0" name=""/>
        <dsp:cNvSpPr/>
      </dsp:nvSpPr>
      <dsp:spPr>
        <a:xfrm>
          <a:off x="6724436" y="261080"/>
          <a:ext cx="1448995" cy="1448995"/>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5A1318-FF5B-40DF-B9E7-32B98049436D}">
      <dsp:nvSpPr>
        <dsp:cNvPr id="0" name=""/>
        <dsp:cNvSpPr/>
      </dsp:nvSpPr>
      <dsp:spPr>
        <a:xfrm>
          <a:off x="8548637" y="0"/>
          <a:ext cx="2074912" cy="4351338"/>
        </a:xfrm>
        <a:prstGeom prst="roundRect">
          <a:avLst>
            <a:gd name="adj" fmla="val 10000"/>
          </a:avLst>
        </a:prstGeom>
        <a:solidFill>
          <a:schemeClr val="accent4">
            <a:hueOff val="-15331439"/>
            <a:satOff val="-30405"/>
            <a:lumOff val="-1686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marL="0" lvl="0" indent="0" algn="ctr" defTabSz="977900">
            <a:lnSpc>
              <a:spcPct val="90000"/>
            </a:lnSpc>
            <a:spcBef>
              <a:spcPct val="0"/>
            </a:spcBef>
            <a:spcAft>
              <a:spcPct val="35000"/>
            </a:spcAft>
            <a:buNone/>
          </a:pPr>
          <a:r>
            <a:rPr lang="en-US" sz="2200" kern="1200"/>
            <a:t>Change of Program Placement</a:t>
          </a:r>
        </a:p>
      </dsp:txBody>
      <dsp:txXfrm>
        <a:off x="8548637" y="1740535"/>
        <a:ext cx="2074912" cy="1740535"/>
      </dsp:txXfrm>
    </dsp:sp>
    <dsp:sp modelId="{A3488EFA-54E8-4144-9C7B-54F063FD5D8D}">
      <dsp:nvSpPr>
        <dsp:cNvPr id="0" name=""/>
        <dsp:cNvSpPr/>
      </dsp:nvSpPr>
      <dsp:spPr>
        <a:xfrm>
          <a:off x="8861596" y="261080"/>
          <a:ext cx="1448995" cy="1448995"/>
        </a:xfrm>
        <a:prstGeom prst="ellipse">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91F17D-186C-441E-B749-5858B9908748}">
      <dsp:nvSpPr>
        <dsp:cNvPr id="0" name=""/>
        <dsp:cNvSpPr/>
      </dsp:nvSpPr>
      <dsp:spPr>
        <a:xfrm>
          <a:off x="424941" y="3481070"/>
          <a:ext cx="9773666" cy="652700"/>
        </a:xfrm>
        <a:prstGeom prst="leftRightArrow">
          <a:avLst/>
        </a:prstGeom>
        <a:solidFill>
          <a:schemeClr val="accent4">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5B9141D-177B-4807-A9D2-94CF7C562477}" type="datetimeFigureOut">
              <a:rPr lang="en-US" smtClean="0"/>
              <a:t>8/1/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41C19E84-432F-4B13-8A59-CF116900378E}" type="slidenum">
              <a:rPr lang="en-US" smtClean="0"/>
              <a:t>‹#›</a:t>
            </a:fld>
            <a:endParaRPr lang="en-US"/>
          </a:p>
        </p:txBody>
      </p:sp>
    </p:spTree>
    <p:extLst>
      <p:ext uri="{BB962C8B-B14F-4D97-AF65-F5344CB8AC3E}">
        <p14:creationId xmlns:p14="http://schemas.microsoft.com/office/powerpoint/2010/main" val="535326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9:00-9:05 (Amy)</a:t>
            </a:r>
          </a:p>
        </p:txBody>
      </p:sp>
      <p:sp>
        <p:nvSpPr>
          <p:cNvPr id="4" name="Slide Number Placeholder 3"/>
          <p:cNvSpPr>
            <a:spLocks noGrp="1"/>
          </p:cNvSpPr>
          <p:nvPr>
            <p:ph type="sldNum" sz="quarter" idx="5"/>
          </p:nvPr>
        </p:nvSpPr>
        <p:spPr/>
        <p:txBody>
          <a:bodyPr/>
          <a:lstStyle/>
          <a:p>
            <a:fld id="{41C19E84-432F-4B13-8A59-CF116900378E}" type="slidenum">
              <a:rPr lang="en-US" smtClean="0"/>
              <a:t>1</a:t>
            </a:fld>
            <a:endParaRPr lang="en-US"/>
          </a:p>
        </p:txBody>
      </p:sp>
    </p:spTree>
    <p:extLst>
      <p:ext uri="{BB962C8B-B14F-4D97-AF65-F5344CB8AC3E}">
        <p14:creationId xmlns:p14="http://schemas.microsoft.com/office/powerpoint/2010/main" val="40759227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5000"/>
              </a:lnSpc>
              <a:spcBef>
                <a:spcPts val="0"/>
              </a:spcBef>
              <a:spcAft>
                <a:spcPts val="0"/>
              </a:spcAft>
              <a:buClrTx/>
              <a:buSzTx/>
              <a:buFont typeface="+mj-lt"/>
              <a:buNone/>
              <a:tabLst/>
              <a:defRPr/>
            </a:pPr>
            <a:r>
              <a:rPr lang="en-US" sz="1100" u="none">
                <a:effectLst/>
                <a:latin typeface="Calibri" panose="020F0502020204030204" pitchFamily="34" charset="0"/>
                <a:ea typeface="Times New Roman" panose="02020603050405020304" pitchFamily="18" charset="0"/>
              </a:rPr>
              <a:t>Dr. Lara </a:t>
            </a:r>
          </a:p>
        </p:txBody>
      </p:sp>
      <p:sp>
        <p:nvSpPr>
          <p:cNvPr id="4" name="Slide Number Placeholder 3"/>
          <p:cNvSpPr>
            <a:spLocks noGrp="1"/>
          </p:cNvSpPr>
          <p:nvPr>
            <p:ph type="sldNum" sz="quarter" idx="5"/>
          </p:nvPr>
        </p:nvSpPr>
        <p:spPr/>
        <p:txBody>
          <a:bodyPr/>
          <a:lstStyle/>
          <a:p>
            <a:fld id="{9E4D9ABE-7AB9-4D3A-BEA5-45E799BD6C0E}" type="slidenum">
              <a:rPr lang="en-US" smtClean="0"/>
              <a:t>2</a:t>
            </a:fld>
            <a:endParaRPr lang="en-US"/>
          </a:p>
        </p:txBody>
      </p:sp>
    </p:spTree>
    <p:extLst>
      <p:ext uri="{BB962C8B-B14F-4D97-AF65-F5344CB8AC3E}">
        <p14:creationId xmlns:p14="http://schemas.microsoft.com/office/powerpoint/2010/main" val="23547853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r. Lara </a:t>
            </a:r>
          </a:p>
        </p:txBody>
      </p:sp>
      <p:sp>
        <p:nvSpPr>
          <p:cNvPr id="4" name="Slide Number Placeholder 3"/>
          <p:cNvSpPr>
            <a:spLocks noGrp="1"/>
          </p:cNvSpPr>
          <p:nvPr>
            <p:ph type="sldNum" sz="quarter" idx="5"/>
          </p:nvPr>
        </p:nvSpPr>
        <p:spPr/>
        <p:txBody>
          <a:bodyPr/>
          <a:lstStyle/>
          <a:p>
            <a:fld id="{41C19E84-432F-4B13-8A59-CF116900378E}" type="slidenum">
              <a:rPr lang="en-US" smtClean="0"/>
              <a:t>4</a:t>
            </a:fld>
            <a:endParaRPr lang="en-US"/>
          </a:p>
        </p:txBody>
      </p:sp>
    </p:spTree>
    <p:extLst>
      <p:ext uri="{BB962C8B-B14F-4D97-AF65-F5344CB8AC3E}">
        <p14:creationId xmlns:p14="http://schemas.microsoft.com/office/powerpoint/2010/main" val="937458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3:00-3: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902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nces.ed.gov/programs/digest/d21/tables/dt21_204.20.asp</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256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1C19E84-432F-4B13-8A59-CF116900378E}" type="slidenum">
              <a:rPr lang="en-US" smtClean="0"/>
              <a:t>8</a:t>
            </a:fld>
            <a:endParaRPr lang="en-US"/>
          </a:p>
        </p:txBody>
      </p:sp>
    </p:spTree>
    <p:extLst>
      <p:ext uri="{BB962C8B-B14F-4D97-AF65-F5344CB8AC3E}">
        <p14:creationId xmlns:p14="http://schemas.microsoft.com/office/powerpoint/2010/main" val="3046097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8.jpe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9.jpeg"/><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7.xml"/><Relationship Id="rId4" Type="http://schemas.openxmlformats.org/officeDocument/2006/relationships/image" Target="../media/image14.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9.jpeg"/><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5.jpe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6.jpe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0.jpeg"/><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4.jpeg"/><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6.jpeg"/><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9.jpeg"/><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1.jpeg"/><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1.jpeg"/><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20.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jpeg"/><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5441935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1976EA6-97FE-4548-A3C5-F2E0C1541AE7}"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78862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193F8DBF-D41F-412A-8EAE-8D5A35DBA5E4}"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36000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EC4869FD-0D71-4BF5-90E8-CDEF57D38EEA}"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895399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C96AC653-3051-4EBB-AD30-32A1B6BBF786}"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703233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CB5807E9-C2AA-4124-80AE-EB020C0D69CE}"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9759495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D433019-FF01-4306-B377-49F4D3522950}" type="datetime1">
              <a:rPr lang="en-US" smtClean="0">
                <a:solidFill>
                  <a:schemeClr val="accent1">
                    <a:lumMod val="60000"/>
                    <a:lumOff val="40000"/>
                  </a:schemeClr>
                </a:solidFill>
              </a:rPr>
              <a:t>8/1/2023</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Emergent Bilingual Support Division  |  TEA  2023</a:t>
            </a:r>
          </a:p>
        </p:txBody>
      </p:sp>
    </p:spTree>
    <p:extLst>
      <p:ext uri="{BB962C8B-B14F-4D97-AF65-F5344CB8AC3E}">
        <p14:creationId xmlns:p14="http://schemas.microsoft.com/office/powerpoint/2010/main" val="22850109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9540282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8711363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4134850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367086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67791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451EE87-FACE-4EA0-A5FB-887920545192}"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593615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7342110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722607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1"/>
            </p:custDataLst>
            <p:extLst>
              <p:ext uri="{D42A27DB-BD31-4B8C-83A1-F6EECF244321}">
                <p14:modId xmlns:p14="http://schemas.microsoft.com/office/powerpoint/2010/main" val="3503788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6">
            <a:alphaModFix amt="65000"/>
            <a:extLst>
              <a:ext uri="{28A0092B-C50C-407E-A947-70E740481C1C}">
                <a14:useLocalDpi xmlns:a14="http://schemas.microsoft.com/office/drawing/2010/main" val="0"/>
              </a:ext>
            </a:extLst>
          </a:blip>
          <a:srcRect l="-104" t="6395" r="104" b="3783"/>
          <a:stretch/>
        </p:blipFill>
        <p:spPr>
          <a:xfrm>
            <a:off x="361506" y="1"/>
            <a:ext cx="11830494"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6" y="0"/>
            <a:ext cx="3408237"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241055"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3" y="2179674"/>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38093359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5347681-CDBA-4212-951B-EFEA41C123AC}"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3247474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6C6AA00-6793-483F-824C-2505C6C46120}"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7693482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FF3F899-FB34-49AD-85A9-EE9F122700DD}"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021980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0D160F4-2662-4E41-8ABC-5B808DBC41D3}"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876785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1F5E304-3056-467E-B70A-11B7D6975870}"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35023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0C88638-3AE5-4757-BA26-22F233D15256}"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3028266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76021F0-29D9-4C83-919F-D801F1E80DA7}"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2493283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341441D-1E98-48C4-A0D4-8AAE1F8145DE}"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925866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AC4D3E0-6B5F-4FBE-A399-8A74E449E2D3}"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62267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7DD0E7C0-A1AE-4209-896B-C382EEC8C8EA}"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6163361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46332D0A-5FC3-4CD6-9A7E-54726D06E4D7}"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291174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28412195-DC6D-449C-83DB-696B96DE180D}"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9201773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0AFF563F-598D-4218-8830-F66FDF204EFD}"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8620815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021A8B5E-DA9A-4E87-9CBC-62E6555A5D56}"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651608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24A686AA-E793-441D-961D-A77A7228ECBC}"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689912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78F3DFB6-64A3-4FD6-BD08-31DD26DF8D6E}"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242340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7319C117-5E0E-428C-87E4-FB9C22D8E53A}"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672928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6B9F0860-9C17-4BDA-8EA4-172D6B084D1F}"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323081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06B4CD9-C478-4878-B7A8-BBE93C755ED7}"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7043132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4355BEF5-55E5-4420-BDBD-9CBB38F2FABD}"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85924902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F72193C-2307-4A2E-8450-9741F4103BB0}"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655970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0A6B57A8-EBAA-4C9E-B02A-8654BD81209D}"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9431344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BD8E4B30-C5F7-4D7E-AC80-626E2A7D8AED}"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2056041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9E54249-9B6E-4379-BB3A-CFD392095874}" type="datetime1">
              <a:rPr lang="en-US" smtClean="0">
                <a:solidFill>
                  <a:schemeClr val="accent1">
                    <a:lumMod val="60000"/>
                    <a:lumOff val="40000"/>
                  </a:schemeClr>
                </a:solidFill>
              </a:rPr>
              <a:t>8/1/2023</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Emergent Bilingual Support Division  |  TEA  2023</a:t>
            </a:r>
          </a:p>
        </p:txBody>
      </p:sp>
    </p:spTree>
    <p:extLst>
      <p:ext uri="{BB962C8B-B14F-4D97-AF65-F5344CB8AC3E}">
        <p14:creationId xmlns:p14="http://schemas.microsoft.com/office/powerpoint/2010/main" val="149102164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r>
              <a:rPr lang="en-US"/>
              <a:t>Emergent Bilingual Support Division  |  TEA  2023</a:t>
            </a:r>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2067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1083523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3126045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166393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098767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067921E-B084-405E-BCEC-BFB689054FCF}"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781409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9237"/>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0342918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041128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361507" y="-73634"/>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73607302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1"/>
            </p:custDataLst>
            <p:extLst>
              <p:ext uri="{D42A27DB-BD31-4B8C-83A1-F6EECF244321}">
                <p14:modId xmlns:p14="http://schemas.microsoft.com/office/powerpoint/2010/main" val="2419950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4" name="Picture 3" descr="A picture containing text, person, person&#10;&#10;Description automatically generated">
            <a:extLst>
              <a:ext uri="{FF2B5EF4-FFF2-40B4-BE49-F238E27FC236}">
                <a16:creationId xmlns:a16="http://schemas.microsoft.com/office/drawing/2014/main" id="{3A8A8DE5-5DCC-4E89-856E-010559851F6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17453" y="-6927"/>
            <a:ext cx="10067638" cy="6871854"/>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0" y="0"/>
            <a:ext cx="3417455"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84157" y="281615"/>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5029" y="2232837"/>
            <a:ext cx="3162280"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287815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F8D53F9-78EF-43B4-BE2C-A7E4AC4F026B}"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015073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CB8BB6F-AF75-4DE2-A5A6-842773878B97}"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274016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1F3E634A-936B-4F93-BA54-AF10B40B46AB}"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747909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48CDD27-A55D-4A0E-BFF7-64A550CEA9D8}"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3048108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C3DC47C-9E4A-4906-881F-D60611388E83}"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2157404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DEFA1D3-AB04-4203-8D14-59253078B81C}"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07973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5979865"/>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40B7189-CF87-4E7E-8F15-488C559F15D1}"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5244840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70122A6-52F3-4A5D-B06E-B2B1F044DFF8}"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62121737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CDA3B1D-10F4-429B-A461-E9ABE544C096}"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390022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2C4EB2B1-BD33-47D3-A1EA-FC587B3EC1D4}"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73088153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A9C34DE4-6C6C-4449-A3E0-BC9B936C7301}"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413635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C996DA49-E367-4377-9007-225FFA69919B}"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7648157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53634D5-7163-471F-85EC-B87C701D625B}"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8860771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E1164926-A130-4006-B3E4-85A84821023E}"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02256398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9FC20C97-F209-455C-BFA9-FE8F13884B5C}"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4963027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6B8A8CB7-C61D-4C3A-9086-4819DCE0C1E4}"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4878923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2E426DF4-3B2B-4D95-B2CD-553EACDC9C62}"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31078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4F9F967-569F-441B-B726-BDFB80CAD6F5}"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878860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3EAB9F63-F4CF-4077-ABF5-C787862CCB5C}"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8540750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204B7E2A-C301-4289-B1E6-1D919283C414}"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3176514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52FC7DEC-C250-4CB0-AD5F-AE75FA720FEA}"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38096245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ED8177C7-1EDD-45D4-A960-E2DC2BFB9721}"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5920467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3EE5B4FC-21C2-4AD4-9F34-7E081FCFFC2F}"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943772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3BABF45-8BF5-4522-94D3-AAF2B347FB4B}" type="datetime1">
              <a:rPr lang="en-US" smtClean="0">
                <a:solidFill>
                  <a:schemeClr val="accent1">
                    <a:lumMod val="60000"/>
                    <a:lumOff val="40000"/>
                  </a:schemeClr>
                </a:solidFill>
              </a:rPr>
              <a:t>8/1/2023</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Emergent Bilingual Support Division  |  TEA  2023</a:t>
            </a:r>
          </a:p>
        </p:txBody>
      </p:sp>
    </p:spTree>
    <p:extLst>
      <p:ext uri="{BB962C8B-B14F-4D97-AF65-F5344CB8AC3E}">
        <p14:creationId xmlns:p14="http://schemas.microsoft.com/office/powerpoint/2010/main" val="173088494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a:xfrm>
            <a:off x="4038600" y="6529137"/>
            <a:ext cx="4114800" cy="192338"/>
          </a:xfrm>
          <a:prstGeom prst="rect">
            <a:avLst/>
          </a:prstGeom>
        </p:spPr>
        <p:txBody>
          <a:bodyPr/>
          <a:lstStyle/>
          <a:p>
            <a:r>
              <a:rPr lang="en-US"/>
              <a:t>Emergent Bilingual Support Division  |  TEA  2023</a:t>
            </a:r>
          </a:p>
        </p:txBody>
      </p:sp>
      <p:sp>
        <p:nvSpPr>
          <p:cNvPr id="6" name="Slide Number Placeholder 5"/>
          <p:cNvSpPr>
            <a:spLocks noGrp="1"/>
          </p:cNvSpPr>
          <p:nvPr>
            <p:ph type="sldNum" sz="quarter" idx="12"/>
          </p:nvPr>
        </p:nvSpPr>
        <p:spPr>
          <a:xfrm>
            <a:off x="8610600" y="6529137"/>
            <a:ext cx="2743200" cy="192338"/>
          </a:xfrm>
          <a:prstGeom prst="rect">
            <a:avLst/>
          </a:prstGeom>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28586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7D096686-5C47-4123-A6FC-E690B574CD0C}"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132F563-1018-4BBA-84AD-7D43004AA59D}"/>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rcRect t="7812" b="7812"/>
          <a:stretch/>
        </p:blipFill>
        <p:spPr>
          <a:xfrm>
            <a:off x="0" y="0"/>
            <a:ext cx="12192000" cy="6858000"/>
          </a:xfrm>
          <a:prstGeom prst="rect">
            <a:avLst/>
          </a:prstGeom>
        </p:spPr>
      </p:pic>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3342166" y="5273963"/>
            <a:ext cx="5507665" cy="1584037"/>
          </a:xfrm>
          <a:noFill/>
          <a:ln>
            <a:noFill/>
          </a:ln>
        </p:spPr>
        <p:txBody>
          <a:bodyPr anchor="b">
            <a:noAutofit/>
          </a:bodyPr>
          <a:lstStyle>
            <a:lvl1pPr algn="l">
              <a:defRPr sz="4400">
                <a:solidFill>
                  <a:schemeClr val="accent1"/>
                </a:solidFill>
                <a:latin typeface="+mn-lt"/>
              </a:defRPr>
            </a:lvl1pPr>
          </a:lstStyle>
          <a:p>
            <a:r>
              <a:rPr lang="en-US"/>
              <a:t>Click to edit Master title or section break</a:t>
            </a:r>
          </a:p>
        </p:txBody>
      </p:sp>
      <p:sp>
        <p:nvSpPr>
          <p:cNvPr id="6" name="Rectangle 5">
            <a:extLst>
              <a:ext uri="{FF2B5EF4-FFF2-40B4-BE49-F238E27FC236}">
                <a16:creationId xmlns:a16="http://schemas.microsoft.com/office/drawing/2014/main" id="{86D47E10-CDC5-4ADE-8761-11908306C986}"/>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close up of a sign&#10;&#10;Description automatically generated">
            <a:extLst>
              <a:ext uri="{FF2B5EF4-FFF2-40B4-BE49-F238E27FC236}">
                <a16:creationId xmlns:a16="http://schemas.microsoft.com/office/drawing/2014/main" id="{0D6D02BD-F274-4B9D-B307-D7B9079D18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03761" y="5814077"/>
            <a:ext cx="1305697" cy="522280"/>
          </a:xfrm>
          <a:prstGeom prst="rect">
            <a:avLst/>
          </a:prstGeom>
        </p:spPr>
      </p:pic>
    </p:spTree>
    <p:extLst>
      <p:ext uri="{BB962C8B-B14F-4D97-AF65-F5344CB8AC3E}">
        <p14:creationId xmlns:p14="http://schemas.microsoft.com/office/powerpoint/2010/main" val="18290627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b="15095"/>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56FF689-C4A4-4389-8B4A-BD7A2AD461FF}"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2988523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Picture 3" descr="A picture containing text, person, person&#10;&#10;Description automatically generated">
            <a:extLst>
              <a:ext uri="{FF2B5EF4-FFF2-40B4-BE49-F238E27FC236}">
                <a16:creationId xmlns:a16="http://schemas.microsoft.com/office/drawing/2014/main" id="{BB842E2F-5D02-49E7-ACC6-C84E71FFCB6A}"/>
              </a:ext>
            </a:extLst>
          </p:cNvPr>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0" y="-387928"/>
            <a:ext cx="12553507" cy="8369004"/>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11" name="Rectangle 10">
            <a:extLst>
              <a:ext uri="{FF2B5EF4-FFF2-40B4-BE49-F238E27FC236}">
                <a16:creationId xmlns:a16="http://schemas.microsoft.com/office/drawing/2014/main" id="{0F97521C-1BCE-4078-A60B-0FB9F0B5528E}"/>
              </a:ext>
            </a:extLst>
          </p:cNvPr>
          <p:cNvSpPr/>
          <p:nvPr userDrawn="1"/>
        </p:nvSpPr>
        <p:spPr>
          <a:xfrm>
            <a:off x="3393029" y="12509"/>
            <a:ext cx="5405941" cy="600509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3255862-1463-4AF6-ADC3-4BF4D594FDBD}"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7" name="Content Placeholder 2">
            <a:extLst>
              <a:ext uri="{FF2B5EF4-FFF2-40B4-BE49-F238E27FC236}">
                <a16:creationId xmlns:a16="http://schemas.microsoft.com/office/drawing/2014/main" id="{D87F9458-C8A9-4BEA-A81F-775A16707E70}"/>
              </a:ext>
            </a:extLst>
          </p:cNvPr>
          <p:cNvSpPr>
            <a:spLocks noGrp="1"/>
          </p:cNvSpPr>
          <p:nvPr>
            <p:ph idx="10"/>
          </p:nvPr>
        </p:nvSpPr>
        <p:spPr>
          <a:xfrm>
            <a:off x="4091706" y="2720541"/>
            <a:ext cx="3596640" cy="2507482"/>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548640" y="2720541"/>
            <a:ext cx="3596640" cy="2507482"/>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7EA7453A-A9AE-44E1-891B-9C99CC905AA3}"/>
              </a:ext>
            </a:extLst>
          </p:cNvPr>
          <p:cNvSpPr>
            <a:spLocks noGrp="1"/>
          </p:cNvSpPr>
          <p:nvPr>
            <p:ph idx="11"/>
          </p:nvPr>
        </p:nvSpPr>
        <p:spPr>
          <a:xfrm>
            <a:off x="8237397" y="2720541"/>
            <a:ext cx="3596640" cy="2507482"/>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792909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0E870BA-7E9E-409D-A0C2-392842C7FFEB}"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B25EF7FE-B36C-49EE-AC03-FBFF30EA956D}"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6 til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2" y="1239202"/>
            <a:ext cx="2772544"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1" y="3728614"/>
            <a:ext cx="2772544"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4554823" y="1239202"/>
            <a:ext cx="2772544"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4587057" y="3741268"/>
            <a:ext cx="2772544"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hasCustomPrompt="1"/>
          </p:nvPr>
        </p:nvSpPr>
        <p:spPr>
          <a:xfrm>
            <a:off x="759538" y="1286467"/>
            <a:ext cx="2690065" cy="1847185"/>
          </a:xfrm>
          <a:prstGeom prst="rect">
            <a:avLst/>
          </a:prstGeom>
        </p:spPr>
        <p:txBody>
          <a:bodyPr/>
          <a:lstStyle>
            <a:lvl1pPr marL="342900" indent="-342900">
              <a:buClr>
                <a:schemeClr val="accent2"/>
              </a:buClr>
              <a:buFont typeface="Arial" panose="020B0604020202020204" pitchFamily="34" charset="0"/>
              <a:buChar char="•"/>
              <a:defRPr sz="2000" b="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a:p>
            <a:pPr lvl="0"/>
            <a:endParaRPr lang="en-US"/>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759537" y="3788533"/>
            <a:ext cx="2690065" cy="1847185"/>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hasCustomPrompt="1"/>
          </p:nvPr>
        </p:nvSpPr>
        <p:spPr>
          <a:xfrm>
            <a:off x="4601980" y="1283369"/>
            <a:ext cx="2690065" cy="1847185"/>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hasCustomPrompt="1"/>
          </p:nvPr>
        </p:nvSpPr>
        <p:spPr>
          <a:xfrm>
            <a:off x="4630868" y="3804020"/>
            <a:ext cx="2696500" cy="1847185"/>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90616FD-7926-4494-9964-4B5348A4DAD4}"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2" name="Rectangle 21">
            <a:extLst>
              <a:ext uri="{FF2B5EF4-FFF2-40B4-BE49-F238E27FC236}">
                <a16:creationId xmlns:a16="http://schemas.microsoft.com/office/drawing/2014/main" id="{F358C1BC-5428-452B-A9F9-E81CB6669BDD}"/>
              </a:ext>
            </a:extLst>
          </p:cNvPr>
          <p:cNvSpPr/>
          <p:nvPr userDrawn="1"/>
        </p:nvSpPr>
        <p:spPr>
          <a:xfrm>
            <a:off x="8349125" y="1239202"/>
            <a:ext cx="2772544"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D3235B1-8537-4581-A49B-4D7471074A10}"/>
              </a:ext>
            </a:extLst>
          </p:cNvPr>
          <p:cNvSpPr/>
          <p:nvPr userDrawn="1"/>
        </p:nvSpPr>
        <p:spPr>
          <a:xfrm>
            <a:off x="8381359" y="3741268"/>
            <a:ext cx="2772544"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2">
            <a:extLst>
              <a:ext uri="{FF2B5EF4-FFF2-40B4-BE49-F238E27FC236}">
                <a16:creationId xmlns:a16="http://schemas.microsoft.com/office/drawing/2014/main" id="{30F7D2B2-02BE-4483-88AC-2F1E9C48C1C5}"/>
              </a:ext>
            </a:extLst>
          </p:cNvPr>
          <p:cNvSpPr>
            <a:spLocks noGrp="1"/>
          </p:cNvSpPr>
          <p:nvPr>
            <p:ph type="body" sz="quarter" idx="18" hasCustomPrompt="1"/>
          </p:nvPr>
        </p:nvSpPr>
        <p:spPr>
          <a:xfrm>
            <a:off x="8396282" y="1283369"/>
            <a:ext cx="2690065" cy="1847185"/>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25" name="Text Placeholder 12">
            <a:extLst>
              <a:ext uri="{FF2B5EF4-FFF2-40B4-BE49-F238E27FC236}">
                <a16:creationId xmlns:a16="http://schemas.microsoft.com/office/drawing/2014/main" id="{25D9B154-25D6-46DE-B757-9EF6A99DBB7E}"/>
              </a:ext>
            </a:extLst>
          </p:cNvPr>
          <p:cNvSpPr>
            <a:spLocks noGrp="1"/>
          </p:cNvSpPr>
          <p:nvPr>
            <p:ph type="body" sz="quarter" idx="19" hasCustomPrompt="1"/>
          </p:nvPr>
        </p:nvSpPr>
        <p:spPr>
          <a:xfrm>
            <a:off x="8425170" y="3804020"/>
            <a:ext cx="2696500" cy="1847185"/>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Tree>
    <p:extLst>
      <p:ext uri="{BB962C8B-B14F-4D97-AF65-F5344CB8AC3E}">
        <p14:creationId xmlns:p14="http://schemas.microsoft.com/office/powerpoint/2010/main" val="10157514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6 til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3180833" y="4363566"/>
            <a:ext cx="2772544" cy="132683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70343" y="4368799"/>
            <a:ext cx="2772544" cy="132683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4709728" y="1973270"/>
            <a:ext cx="2772544" cy="1326837"/>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hasCustomPrompt="1"/>
          </p:nvPr>
        </p:nvSpPr>
        <p:spPr>
          <a:xfrm>
            <a:off x="4750967" y="2327540"/>
            <a:ext cx="2690065" cy="923100"/>
          </a:xfrm>
          <a:prstGeom prst="rect">
            <a:avLst/>
          </a:prstGeom>
        </p:spPr>
        <p:txBody>
          <a:bodyPr/>
          <a:lstStyle>
            <a:lvl1pPr marL="342900" indent="-342900">
              <a:buClr>
                <a:schemeClr val="accent2"/>
              </a:buClr>
              <a:buFont typeface="Arial" panose="020B0604020202020204" pitchFamily="34" charset="0"/>
              <a:buChar char="•"/>
              <a:defRPr sz="2000" b="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a:p>
            <a:pPr lvl="0"/>
            <a:endParaRPr lang="en-US"/>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311582" y="4673600"/>
            <a:ext cx="2690065" cy="923100"/>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hasCustomPrompt="1"/>
          </p:nvPr>
        </p:nvSpPr>
        <p:spPr>
          <a:xfrm>
            <a:off x="3180833" y="4673600"/>
            <a:ext cx="2696500" cy="954693"/>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B9BF6F2-151E-4E28-ACB3-74517C5A95ED}"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22" name="Rectangle 21">
            <a:extLst>
              <a:ext uri="{FF2B5EF4-FFF2-40B4-BE49-F238E27FC236}">
                <a16:creationId xmlns:a16="http://schemas.microsoft.com/office/drawing/2014/main" id="{F358C1BC-5428-452B-A9F9-E81CB6669BDD}"/>
              </a:ext>
            </a:extLst>
          </p:cNvPr>
          <p:cNvSpPr/>
          <p:nvPr userDrawn="1"/>
        </p:nvSpPr>
        <p:spPr>
          <a:xfrm>
            <a:off x="6122482" y="4363566"/>
            <a:ext cx="2772544" cy="1336496"/>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D3235B1-8537-4581-A49B-4D7471074A10}"/>
              </a:ext>
            </a:extLst>
          </p:cNvPr>
          <p:cNvSpPr/>
          <p:nvPr userDrawn="1"/>
        </p:nvSpPr>
        <p:spPr>
          <a:xfrm>
            <a:off x="9063645" y="4353908"/>
            <a:ext cx="2772544" cy="1336496"/>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12">
            <a:extLst>
              <a:ext uri="{FF2B5EF4-FFF2-40B4-BE49-F238E27FC236}">
                <a16:creationId xmlns:a16="http://schemas.microsoft.com/office/drawing/2014/main" id="{30F7D2B2-02BE-4483-88AC-2F1E9C48C1C5}"/>
              </a:ext>
            </a:extLst>
          </p:cNvPr>
          <p:cNvSpPr>
            <a:spLocks noGrp="1"/>
          </p:cNvSpPr>
          <p:nvPr>
            <p:ph type="body" sz="quarter" idx="18" hasCustomPrompt="1"/>
          </p:nvPr>
        </p:nvSpPr>
        <p:spPr>
          <a:xfrm>
            <a:off x="6163721" y="4673600"/>
            <a:ext cx="2690065" cy="954692"/>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
        <p:nvSpPr>
          <p:cNvPr id="25" name="Text Placeholder 12">
            <a:extLst>
              <a:ext uri="{FF2B5EF4-FFF2-40B4-BE49-F238E27FC236}">
                <a16:creationId xmlns:a16="http://schemas.microsoft.com/office/drawing/2014/main" id="{25D9B154-25D6-46DE-B757-9EF6A99DBB7E}"/>
              </a:ext>
            </a:extLst>
          </p:cNvPr>
          <p:cNvSpPr>
            <a:spLocks noGrp="1"/>
          </p:cNvSpPr>
          <p:nvPr>
            <p:ph type="body" sz="quarter" idx="19" hasCustomPrompt="1"/>
          </p:nvPr>
        </p:nvSpPr>
        <p:spPr>
          <a:xfrm>
            <a:off x="9099515" y="4673600"/>
            <a:ext cx="2696500" cy="966841"/>
          </a:xfrm>
          <a:prstGeom prst="rect">
            <a:avLst/>
          </a:prstGeom>
        </p:spPr>
        <p:txBody>
          <a:bodyPr/>
          <a:lstStyle>
            <a:lvl1pPr marL="342900" indent="-342900">
              <a:buClr>
                <a:schemeClr val="accent2"/>
              </a:buClr>
              <a:buFont typeface="Arial" panose="020B0604020202020204" pitchFamily="34" charset="0"/>
              <a:buChar char="•"/>
              <a:defRPr sz="20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Name</a:t>
            </a:r>
          </a:p>
          <a:p>
            <a:pPr lvl="0"/>
            <a:r>
              <a:rPr lang="en-US"/>
              <a:t>LEA shout out</a:t>
            </a:r>
          </a:p>
        </p:txBody>
      </p:sp>
    </p:spTree>
    <p:extLst>
      <p:ext uri="{BB962C8B-B14F-4D97-AF65-F5344CB8AC3E}">
        <p14:creationId xmlns:p14="http://schemas.microsoft.com/office/powerpoint/2010/main" val="7965675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8F4354F-A782-45B5-99CD-48B1D63A340F}"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CD48684-DA42-4544-BD8E-B5159FDBAE1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pic>
        <p:nvPicPr>
          <p:cNvPr id="4" name="Picture 3" descr="A picture containing text, person, person&#10;&#10;Description automatically generated">
            <a:extLst>
              <a:ext uri="{FF2B5EF4-FFF2-40B4-BE49-F238E27FC236}">
                <a16:creationId xmlns:a16="http://schemas.microsoft.com/office/drawing/2014/main" id="{3A8A8DE5-5DCC-4E89-856E-010559851F6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 y="0"/>
            <a:ext cx="12192003" cy="7249505"/>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03761" y="5814077"/>
            <a:ext cx="1305697" cy="522280"/>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878847" y="5377872"/>
            <a:ext cx="6419273" cy="1394691"/>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287815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4399343-9786-4C14-A18B-6415A79DF87D}"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2740165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2808628-BE12-4575-8EC1-D5E927F3A730}"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747909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BAA2CBD4-7F8F-4253-AFF0-89B2D90395FD}"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3581669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62580D64-C0BD-4A2E-80B6-7EC56D842729}" type="datetime1">
              <a:rPr lang="en-US" smtClean="0"/>
              <a:t>8/1/2023</a:t>
            </a:fld>
            <a:endParaRPr lang="en-US"/>
          </a:p>
        </p:txBody>
      </p:sp>
      <p:sp>
        <p:nvSpPr>
          <p:cNvPr id="5" name="Footer Placeholder 4"/>
          <p:cNvSpPr>
            <a:spLocks noGrp="1"/>
          </p:cNvSpPr>
          <p:nvPr>
            <p:ph type="ftr" sz="quarter" idx="11"/>
          </p:nvPr>
        </p:nvSpPr>
        <p:spPr/>
        <p:txBody>
          <a:bodyPr/>
          <a:lstStyle/>
          <a:p>
            <a:r>
              <a:rPr lang="en-US"/>
              <a:t>Emergent Bilingual Support Division  |  TEA  2023</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86618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AE6A7B0C-1BBC-4FDB-999C-68B3CB40A836}" type="datetime1">
              <a:rPr lang="en-US" smtClean="0"/>
              <a:t>8/1/2023</a:t>
            </a:fld>
            <a:endParaRPr lang="en-US"/>
          </a:p>
        </p:txBody>
      </p:sp>
      <p:sp>
        <p:nvSpPr>
          <p:cNvPr id="6" name="Footer Placeholder 5"/>
          <p:cNvSpPr>
            <a:spLocks noGrp="1"/>
          </p:cNvSpPr>
          <p:nvPr>
            <p:ph type="ftr" sz="quarter" idx="11"/>
          </p:nvPr>
        </p:nvSpPr>
        <p:spPr/>
        <p:txBody>
          <a:bodyPr/>
          <a:lstStyle/>
          <a:p>
            <a:r>
              <a:rPr lang="en-US"/>
              <a:t>Emergent Bilingual Support Division  |  TEA  2023</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837352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625EF902-A568-439F-A82A-0645A24C31F5}" type="datetime1">
              <a:rPr lang="en-US" smtClean="0"/>
              <a:t>8/1/2023</a:t>
            </a:fld>
            <a:endParaRPr lang="en-US"/>
          </a:p>
        </p:txBody>
      </p:sp>
      <p:sp>
        <p:nvSpPr>
          <p:cNvPr id="6" name="Footer Placeholder 5"/>
          <p:cNvSpPr>
            <a:spLocks noGrp="1"/>
          </p:cNvSpPr>
          <p:nvPr>
            <p:ph type="ftr" sz="quarter" idx="11"/>
          </p:nvPr>
        </p:nvSpPr>
        <p:spPr/>
        <p:txBody>
          <a:bodyPr/>
          <a:lstStyle/>
          <a:p>
            <a:r>
              <a:rPr lang="en-US"/>
              <a:t>Emergent Bilingual Support Division  |  TEA  2023</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20271527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17D8FEC-A8FF-46B7-BA6A-E7247EE00359}" type="datetime1">
              <a:rPr lang="en-US" smtClean="0">
                <a:solidFill>
                  <a:schemeClr val="accent1">
                    <a:lumMod val="60000"/>
                    <a:lumOff val="40000"/>
                  </a:schemeClr>
                </a:solidFill>
              </a:rPr>
              <a:pPr/>
              <a:t>8/1/2023</a:t>
            </a:fld>
            <a:r>
              <a:rPr lang="en-US">
                <a:solidFill>
                  <a:schemeClr val="accent1">
                    <a:lumMod val="60000"/>
                    <a:lumOff val="40000"/>
                  </a:schemeClr>
                </a:solidFill>
              </a:rPr>
              <a:t>     </a:t>
            </a:r>
            <a:fld id="{EA89072E-2125-40D6-847A-9E6B768971D4}" type="slidenum">
              <a:rPr lang="en-US" smtClean="0">
                <a:solidFill>
                  <a:schemeClr val="accent1">
                    <a:lumMod val="60000"/>
                    <a:lumOff val="40000"/>
                  </a:schemeClr>
                </a:solidFill>
              </a:rPr>
              <a:pPr/>
              <a:t>‹#›</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Emergent Bilingual Support Division  |  TEA  2023</a:t>
            </a:r>
          </a:p>
        </p:txBody>
      </p:sp>
    </p:spTree>
    <p:extLst>
      <p:ext uri="{BB962C8B-B14F-4D97-AF65-F5344CB8AC3E}">
        <p14:creationId xmlns:p14="http://schemas.microsoft.com/office/powerpoint/2010/main" val="40370544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04D2310-1509-440E-8881-FE4CC7881F22}" type="datetime1">
              <a:rPr lang="en-US" smtClean="0"/>
              <a:t>8/1/2023</a:t>
            </a:fld>
            <a:endParaRPr lang="en-US"/>
          </a:p>
        </p:txBody>
      </p:sp>
      <p:sp>
        <p:nvSpPr>
          <p:cNvPr id="3" name="Footer Placeholder 2"/>
          <p:cNvSpPr>
            <a:spLocks noGrp="1"/>
          </p:cNvSpPr>
          <p:nvPr>
            <p:ph type="ftr" sz="quarter" idx="11"/>
          </p:nvPr>
        </p:nvSpPr>
        <p:spPr/>
        <p:txBody>
          <a:bodyPr/>
          <a:lstStyle/>
          <a:p>
            <a:r>
              <a:rPr lang="en-US"/>
              <a:t>Emergent Bilingual Support Division  |  TEA  2023</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1328467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8D0416D-2C0B-49FD-B0FE-1FF9A82EBC5A}"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58659643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291A2E6-0C62-4B64-981D-0096A9E85C16}"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429815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FAEE5DA-B075-4FB2-8E08-C59B478F62A7}"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6648030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468C06A-21DB-4639-92FC-A74273C5BD3C}"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15244840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6" name="Picture 5" descr="A group of people sitting at a table using a computer&#10;&#10;Description automatically generated">
            <a:extLst>
              <a:ext uri="{FF2B5EF4-FFF2-40B4-BE49-F238E27FC236}">
                <a16:creationId xmlns:a16="http://schemas.microsoft.com/office/drawing/2014/main" id="{382938C8-4AB8-4CD4-8E1F-B4C83A582A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1" cy="6771190"/>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5137512" y="5292436"/>
            <a:ext cx="4597615" cy="1565564"/>
          </a:xfrm>
          <a:noFill/>
          <a:ln>
            <a:noFill/>
          </a:ln>
        </p:spPr>
        <p:txBody>
          <a:bodyPr anchor="b">
            <a:noAutofit/>
          </a:bodyPr>
          <a:lstStyle>
            <a:lvl1pPr algn="l">
              <a:defRPr sz="4400">
                <a:solidFill>
                  <a:schemeClr val="bg1"/>
                </a:solidFill>
                <a:latin typeface="+mn-lt"/>
              </a:defRPr>
            </a:lvl1pPr>
          </a:lstStyle>
          <a:p>
            <a:r>
              <a:rPr lang="en-US"/>
              <a:t>Click to edit Master title or section break</a:t>
            </a:r>
          </a:p>
        </p:txBody>
      </p:sp>
      <p:sp>
        <p:nvSpPr>
          <p:cNvPr id="9" name="Rectangle 8">
            <a:extLst>
              <a:ext uri="{FF2B5EF4-FFF2-40B4-BE49-F238E27FC236}">
                <a16:creationId xmlns:a16="http://schemas.microsoft.com/office/drawing/2014/main" id="{58BC7753-779F-4CA9-8D14-1904BCE9BCFF}"/>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close up of a sign&#10;&#10;Description automatically generated">
            <a:extLst>
              <a:ext uri="{FF2B5EF4-FFF2-40B4-BE49-F238E27FC236}">
                <a16:creationId xmlns:a16="http://schemas.microsoft.com/office/drawing/2014/main" id="{D8768D0B-D5A4-4C06-8BF4-6FE03F9FE9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3761" y="5814077"/>
            <a:ext cx="1305697" cy="522280"/>
          </a:xfrm>
          <a:prstGeom prst="rect">
            <a:avLst/>
          </a:prstGeom>
        </p:spPr>
      </p:pic>
    </p:spTree>
    <p:extLst>
      <p:ext uri="{BB962C8B-B14F-4D97-AF65-F5344CB8AC3E}">
        <p14:creationId xmlns:p14="http://schemas.microsoft.com/office/powerpoint/2010/main" val="34870127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0E10C91B-BF6C-4574-AA11-0F9937F40415}"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4998214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2F6FE34-D586-4089-A6D8-F6418D903AE4}"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788623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1BBF36E5-4B99-434A-B050-4A14A0D74B53}"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rgbClr val="12642D"/>
          </a:solidFill>
          <a:ln w="38100">
            <a:solidFill>
              <a:srgbClr val="1264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rgbClr val="12642D"/>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17036C6-3F37-435F-B730-79B9D73F7511}"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31765636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1" y="0"/>
            <a:ext cx="12191999" cy="6858000"/>
          </a:xfrm>
          <a:prstGeom prst="rect">
            <a:avLst/>
          </a:prstGeom>
        </p:spPr>
      </p:pic>
      <p:sp>
        <p:nvSpPr>
          <p:cNvPr id="6" name="Rectangle 5">
            <a:extLst>
              <a:ext uri="{FF2B5EF4-FFF2-40B4-BE49-F238E27FC236}">
                <a16:creationId xmlns:a16="http://schemas.microsoft.com/office/drawing/2014/main" id="{D8732443-BF87-4A0B-85F0-31BAF645C908}"/>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782620" y="5860528"/>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5610224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pic>
        <p:nvPicPr>
          <p:cNvPr id="4" name="Picture 3" descr="A picture containing text, person, indoor&#10;&#10;Description automatically generated">
            <a:extLst>
              <a:ext uri="{FF2B5EF4-FFF2-40B4-BE49-F238E27FC236}">
                <a16:creationId xmlns:a16="http://schemas.microsoft.com/office/drawing/2014/main" id="{ADCA35D7-88EB-4B19-BE4C-DA48E41D17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06400"/>
            <a:ext cx="12192000" cy="72644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57514711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pic>
        <p:nvPicPr>
          <p:cNvPr id="5" name="Picture 4" descr="A picture containing text, person, indoor&#10;&#10;Description automatically generated">
            <a:extLst>
              <a:ext uri="{FF2B5EF4-FFF2-40B4-BE49-F238E27FC236}">
                <a16:creationId xmlns:a16="http://schemas.microsoft.com/office/drawing/2014/main" id="{7E338932-D6C0-4D76-8F45-EFB2231C3B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50181775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pic>
        <p:nvPicPr>
          <p:cNvPr id="5" name="Picture 4" descr="A picture containing person, computer, crowd&#10;&#10;Description automatically generated">
            <a:extLst>
              <a:ext uri="{FF2B5EF4-FFF2-40B4-BE49-F238E27FC236}">
                <a16:creationId xmlns:a16="http://schemas.microsoft.com/office/drawing/2014/main" id="{0484845E-030B-411D-9E67-EF5829E587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1"/>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3011456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pic>
        <p:nvPicPr>
          <p:cNvPr id="5" name="Picture 4" descr="A picture containing text, book, person, shelf&#10;&#10;Description automatically generated">
            <a:extLst>
              <a:ext uri="{FF2B5EF4-FFF2-40B4-BE49-F238E27FC236}">
                <a16:creationId xmlns:a16="http://schemas.microsoft.com/office/drawing/2014/main" id="{0AAA252E-BB28-4AA9-AA0C-64C4B50355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192000" cy="6858001"/>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1745938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pic>
        <p:nvPicPr>
          <p:cNvPr id="5" name="Picture 4" descr="A group of people looking at a computer&#10;&#10;Description automatically generated with medium confidence">
            <a:extLst>
              <a:ext uri="{FF2B5EF4-FFF2-40B4-BE49-F238E27FC236}">
                <a16:creationId xmlns:a16="http://schemas.microsoft.com/office/drawing/2014/main" id="{4F8A07A3-47A2-4272-A032-FCF5C4E8B6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3992723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5" name="Picture 4" descr="A group of people sitting at a table&#10;&#10;Description automatically generated with low confidence">
            <a:extLst>
              <a:ext uri="{FF2B5EF4-FFF2-40B4-BE49-F238E27FC236}">
                <a16:creationId xmlns:a16="http://schemas.microsoft.com/office/drawing/2014/main" id="{346EE1E1-5FD7-4704-9F8A-A816516ECA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777456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A group of people looking at a computer&#10;&#10;Description automatically generated">
            <a:extLst>
              <a:ext uri="{FF2B5EF4-FFF2-40B4-BE49-F238E27FC236}">
                <a16:creationId xmlns:a16="http://schemas.microsoft.com/office/drawing/2014/main" id="{EE0886DF-194F-4288-8827-50580AE471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887"/>
          <a:stretch/>
        </p:blipFill>
        <p:spPr>
          <a:xfrm>
            <a:off x="0" y="10183"/>
            <a:ext cx="12217429" cy="6847817"/>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8279559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3E646805-86C5-434A-80F3-B7317F28DF4A}"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01857674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descr="A picture containing text, indoor, desk&#10;&#10;Description automatically generated">
            <a:extLst>
              <a:ext uri="{FF2B5EF4-FFF2-40B4-BE49-F238E27FC236}">
                <a16:creationId xmlns:a16="http://schemas.microsoft.com/office/drawing/2014/main" id="{94D73594-753B-4C75-9F1E-0046A60B36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89590329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pic>
        <p:nvPicPr>
          <p:cNvPr id="5" name="Picture 4" descr="A picture containing indoor, person, wall, computer&#10;&#10;Description automatically generated">
            <a:extLst>
              <a:ext uri="{FF2B5EF4-FFF2-40B4-BE49-F238E27FC236}">
                <a16:creationId xmlns:a16="http://schemas.microsoft.com/office/drawing/2014/main" id="{1608A960-C2F3-4474-87B8-21C5F6CF0E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258778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423E4661-1857-4975-B78B-301D0A1C412F}"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0" y="-635000"/>
            <a:ext cx="12192000" cy="7493000"/>
          </a:xfrm>
          <a:prstGeom prst="rect">
            <a:avLst/>
          </a:prstGeom>
        </p:spPr>
      </p:pic>
      <p:sp>
        <p:nvSpPr>
          <p:cNvPr id="6" name="Rectangle 5">
            <a:extLst>
              <a:ext uri="{FF2B5EF4-FFF2-40B4-BE49-F238E27FC236}">
                <a16:creationId xmlns:a16="http://schemas.microsoft.com/office/drawing/2014/main" id="{9C95309D-06D0-43B4-900E-2BC96E5E7797}"/>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3BCE4474-3DE4-4B27-BEE5-173F3524D83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551710" y="5772784"/>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4934050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72C32AC-FCA1-4957-AA6B-7C050389EF66}"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39B7996-96EA-4FEC-9A91-5E5CCDDD859A}"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71A8FDDC-5AFD-4485-AD53-2995A603BBD9}"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AAB4C17-9BD4-43F6-87DE-F2C3E6483255}"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9171705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7F3AD5E-4E40-4494-9289-224AA5EBEDE3}"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6186074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10CD1594-4F32-40CB-AB27-D517007B0FEF}"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7618607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D09BB6FB-70AA-4297-9800-0C1EE422B55C}"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3039895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01B7996-3445-45BC-9EF6-BB237D5FA29C}"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23710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9" name="Picture 8" descr="A person sitting on a couch using a computer&#10;&#10;Description automatically generated">
            <a:extLst>
              <a:ext uri="{FF2B5EF4-FFF2-40B4-BE49-F238E27FC236}">
                <a16:creationId xmlns:a16="http://schemas.microsoft.com/office/drawing/2014/main" id="{F840B7CE-04E8-49E5-A6ED-B1E447F81B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8" t="7390" r="-168" b="7390"/>
          <a:stretch/>
        </p:blipFill>
        <p:spPr>
          <a:xfrm>
            <a:off x="0" y="0"/>
            <a:ext cx="1221256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9114960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descr="A group of people sitting at a table looking at a computer&#10;&#10;Description automatically generated">
            <a:extLst>
              <a:ext uri="{FF2B5EF4-FFF2-40B4-BE49-F238E27FC236}">
                <a16:creationId xmlns:a16="http://schemas.microsoft.com/office/drawing/2014/main" id="{BD88ECA1-E290-44D2-BAB1-A2B29FE6189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798" b="7798"/>
          <a:stretch/>
        </p:blipFill>
        <p:spPr>
          <a:xfrm>
            <a:off x="0" y="0"/>
            <a:ext cx="12187926"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1997610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58CCE527-E533-4FAE-8EC0-BAA513D8A9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339" b="7709"/>
          <a:stretch/>
        </p:blipFill>
        <p:spPr>
          <a:xfrm>
            <a:off x="0" y="-1"/>
            <a:ext cx="12211209" cy="6858001"/>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2"/>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71108970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4BAFF243-0CF6-4789-996C-5C6CFB89F13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023" r="371" b="591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053871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753DE7D-D398-4380-95D7-F504A5C51A2F}"/>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766" b="7766"/>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userDrawn="1"/>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37643062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8F03B75A-F275-4A4C-9682-358D858DF917}"/>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569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userDrawn="1"/>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6521369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402DAE84-8065-40CB-AF1A-1F33A41B38C0}"/>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1310" b="4224"/>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userDrawn="1"/>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47845616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E98A0F15-6303-4E85-81D7-B2F58C5A4D2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878" b="7878"/>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userDrawn="1"/>
        </p:nvSpPr>
        <p:spPr>
          <a:xfrm>
            <a:off x="0" y="-2"/>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7090611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226806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74889954-CC75-492D-A455-33278CA1A9B1}"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21601794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9697997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97384671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5600102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00585722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8803081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0" y="5467926"/>
            <a:ext cx="12192000" cy="1390073"/>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375" y="5937101"/>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972969" y="5783956"/>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720260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0" y="5467926"/>
            <a:ext cx="12192000" cy="1390073"/>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375" y="5937101"/>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588656" y="5467924"/>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8895956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0" y="-635000"/>
            <a:ext cx="12192000" cy="812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0" y="5467926"/>
            <a:ext cx="12192000" cy="1390073"/>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375" y="5937101"/>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588656" y="5467924"/>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28496605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0" y="-635000"/>
            <a:ext cx="12192000" cy="812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0" y="5467926"/>
            <a:ext cx="12192000" cy="1390073"/>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375" y="5937101"/>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588656" y="5467924"/>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94001111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0" y="-1715"/>
            <a:ext cx="12192000" cy="686143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0" y="5467926"/>
            <a:ext cx="12192000" cy="1390073"/>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9375" y="5937101"/>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588656" y="5467924"/>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02927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E31FDC4E-61A4-4C67-B438-5A91E6EB6351}"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80260359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89000823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9CCA3BC-F749-4EE3-8100-E30B113ED9B2}"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6665504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080E4F1-6ACF-4DB2-83EC-3E6224F18512}"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64424066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D879AC5-B9E2-489C-A767-4F13C03B32FF}"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699338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E9C9BD4-9E7A-421C-A3F0-FCDCAAC7EE0C}"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04251434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rgbClr val="12642D"/>
          </a:solidFill>
          <a:ln w="38100">
            <a:solidFill>
              <a:srgbClr val="1264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rgbClr val="12642D"/>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4E809BA-EE3F-467C-9664-C7DE75D4C304}"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5222390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F939B81-E62F-4B16-9042-B8385D772BBE}"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72608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1E2A924-C0E5-4EE3-8CC9-33E6823547F3}"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2197185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5259224-5051-4323-85A8-90703156DA29}"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6851567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E4E6C27B-618B-4406-ADBB-19CE33FE7562}"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42103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D83DB28E-A8CA-403D-8161-A9D4240E4317}"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7781274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D55DA260-A59A-4396-90B7-58213A0CE0C8}"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73916015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19E96B05-48B4-40E3-9A09-DF7719FD5265}"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2017670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422DBD83-58A9-404C-A6B6-7BD8557DE775}"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9898911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meline with titles">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4AEF4578-2ED6-4072-944A-D99DF54107B1}"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
        <p:nvSpPr>
          <p:cNvPr id="9" name="Text Placeholder 8">
            <a:extLst>
              <a:ext uri="{FF2B5EF4-FFF2-40B4-BE49-F238E27FC236}">
                <a16:creationId xmlns:a16="http://schemas.microsoft.com/office/drawing/2014/main" id="{01D01A7E-59C2-4083-AAEF-48AD67E28AC3}"/>
              </a:ext>
            </a:extLst>
          </p:cNvPr>
          <p:cNvSpPr>
            <a:spLocks noGrp="1"/>
          </p:cNvSpPr>
          <p:nvPr>
            <p:ph type="body" sz="quarter" idx="13"/>
          </p:nvPr>
        </p:nvSpPr>
        <p:spPr>
          <a:xfrm>
            <a:off x="2562225" y="3263900"/>
            <a:ext cx="2120900" cy="369888"/>
          </a:xfrm>
          <a:prstGeom prst="rect">
            <a:avLst/>
          </a:prstGeom>
        </p:spPr>
        <p:txBody>
          <a:bodyPr/>
          <a:lstStyle>
            <a:lvl1pPr algn="ctr">
              <a:buNone/>
              <a:defRPr sz="2000" b="1">
                <a:solidFill>
                  <a:schemeClr val="accent2"/>
                </a:solidFill>
              </a:defRPr>
            </a:lvl1pPr>
          </a:lstStyle>
          <a:p>
            <a:pPr lvl="0"/>
            <a:endParaRPr lang="en-US"/>
          </a:p>
        </p:txBody>
      </p:sp>
      <p:sp>
        <p:nvSpPr>
          <p:cNvPr id="15" name="Text Placeholder 14">
            <a:extLst>
              <a:ext uri="{FF2B5EF4-FFF2-40B4-BE49-F238E27FC236}">
                <a16:creationId xmlns:a16="http://schemas.microsoft.com/office/drawing/2014/main" id="{1AAE43D3-699F-4D3C-99E5-6C1BD62EC75A}"/>
              </a:ext>
            </a:extLst>
          </p:cNvPr>
          <p:cNvSpPr>
            <a:spLocks noGrp="1"/>
          </p:cNvSpPr>
          <p:nvPr>
            <p:ph type="body" sz="quarter" idx="14"/>
          </p:nvPr>
        </p:nvSpPr>
        <p:spPr>
          <a:xfrm>
            <a:off x="4876800" y="3263900"/>
            <a:ext cx="2117725" cy="369888"/>
          </a:xfrm>
          <a:prstGeom prst="rect">
            <a:avLst/>
          </a:prstGeom>
        </p:spPr>
        <p:txBody>
          <a:bodyPr/>
          <a:lstStyle>
            <a:lvl1pPr algn="ctr">
              <a:buNone/>
              <a:defRPr sz="2000" b="1">
                <a:solidFill>
                  <a:schemeClr val="accent2"/>
                </a:solidFill>
              </a:defRPr>
            </a:lvl1pPr>
          </a:lstStyle>
          <a:p>
            <a:pPr lvl="0"/>
            <a:endParaRPr lang="en-US"/>
          </a:p>
        </p:txBody>
      </p:sp>
      <p:sp>
        <p:nvSpPr>
          <p:cNvPr id="21" name="Text Placeholder 20">
            <a:extLst>
              <a:ext uri="{FF2B5EF4-FFF2-40B4-BE49-F238E27FC236}">
                <a16:creationId xmlns:a16="http://schemas.microsoft.com/office/drawing/2014/main" id="{9E3D3D3F-A634-4B0A-A9DF-1632C7817C53}"/>
              </a:ext>
            </a:extLst>
          </p:cNvPr>
          <p:cNvSpPr>
            <a:spLocks noGrp="1"/>
          </p:cNvSpPr>
          <p:nvPr>
            <p:ph type="body" sz="quarter" idx="15"/>
          </p:nvPr>
        </p:nvSpPr>
        <p:spPr>
          <a:xfrm>
            <a:off x="7188200" y="3263900"/>
            <a:ext cx="2109788" cy="369888"/>
          </a:xfrm>
          <a:prstGeom prst="rect">
            <a:avLst/>
          </a:prstGeom>
        </p:spPr>
        <p:txBody>
          <a:bodyPr/>
          <a:lstStyle>
            <a:lvl1pPr algn="ctr">
              <a:buNone/>
              <a:defRPr sz="2000" b="1">
                <a:solidFill>
                  <a:schemeClr val="accent2"/>
                </a:solidFill>
              </a:defRPr>
            </a:lvl1pPr>
          </a:lstStyle>
          <a:p>
            <a:pPr lvl="0"/>
            <a:endParaRPr lang="en-US"/>
          </a:p>
        </p:txBody>
      </p:sp>
      <p:sp>
        <p:nvSpPr>
          <p:cNvPr id="23" name="Text Placeholder 22">
            <a:extLst>
              <a:ext uri="{FF2B5EF4-FFF2-40B4-BE49-F238E27FC236}">
                <a16:creationId xmlns:a16="http://schemas.microsoft.com/office/drawing/2014/main" id="{E9FB9286-84DF-494D-AB0E-B152622B80FD}"/>
              </a:ext>
            </a:extLst>
          </p:cNvPr>
          <p:cNvSpPr>
            <a:spLocks noGrp="1"/>
          </p:cNvSpPr>
          <p:nvPr>
            <p:ph type="body" sz="quarter" idx="16"/>
          </p:nvPr>
        </p:nvSpPr>
        <p:spPr>
          <a:xfrm>
            <a:off x="9502775" y="3263900"/>
            <a:ext cx="2109788" cy="369888"/>
          </a:xfrm>
          <a:prstGeom prst="rect">
            <a:avLst/>
          </a:prstGeom>
        </p:spPr>
        <p:txBody>
          <a:bodyPr/>
          <a:lstStyle>
            <a:lvl1pPr algn="ctr">
              <a:buNone/>
              <a:defRPr sz="2000" b="1">
                <a:solidFill>
                  <a:schemeClr val="accent2"/>
                </a:solidFill>
              </a:defRPr>
            </a:lvl1pPr>
          </a:lstStyle>
          <a:p>
            <a:pPr lvl="0"/>
            <a:endParaRPr lang="en-US"/>
          </a:p>
        </p:txBody>
      </p:sp>
    </p:spTree>
    <p:extLst>
      <p:ext uri="{BB962C8B-B14F-4D97-AF65-F5344CB8AC3E}">
        <p14:creationId xmlns:p14="http://schemas.microsoft.com/office/powerpoint/2010/main" val="342292268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0041" y="3712463"/>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38917" y="3712463"/>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79893" y="241004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3C8C9595-A830-4C13-AD10-28310ED14B6E}"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
        <p:nvSpPr>
          <p:cNvPr id="20" name="TextBox 19">
            <a:extLst>
              <a:ext uri="{FF2B5EF4-FFF2-40B4-BE49-F238E27FC236}">
                <a16:creationId xmlns:a16="http://schemas.microsoft.com/office/drawing/2014/main" id="{E8FA56FF-FFBD-4A11-8E46-46E023CB1B28}"/>
              </a:ext>
            </a:extLst>
          </p:cNvPr>
          <p:cNvSpPr txBox="1"/>
          <p:nvPr userDrawn="1"/>
        </p:nvSpPr>
        <p:spPr>
          <a:xfrm>
            <a:off x="4857120" y="3237690"/>
            <a:ext cx="2160521" cy="418876"/>
          </a:xfrm>
          <a:prstGeom prst="rect">
            <a:avLst/>
          </a:prstGeom>
          <a:noFill/>
        </p:spPr>
        <p:txBody>
          <a:bodyPr wrap="square" rtlCol="0">
            <a:spAutoFit/>
          </a:bodyPr>
          <a:lstStyle/>
          <a:p>
            <a:endParaRPr lang="en-US"/>
          </a:p>
        </p:txBody>
      </p:sp>
      <p:sp>
        <p:nvSpPr>
          <p:cNvPr id="21" name="TextBox 20">
            <a:extLst>
              <a:ext uri="{FF2B5EF4-FFF2-40B4-BE49-F238E27FC236}">
                <a16:creationId xmlns:a16="http://schemas.microsoft.com/office/drawing/2014/main" id="{47369172-9985-4D8D-A219-6DCA21462E29}"/>
              </a:ext>
            </a:extLst>
          </p:cNvPr>
          <p:cNvSpPr txBox="1"/>
          <p:nvPr userDrawn="1"/>
        </p:nvSpPr>
        <p:spPr>
          <a:xfrm>
            <a:off x="2536651" y="3241038"/>
            <a:ext cx="2160521" cy="418876"/>
          </a:xfrm>
          <a:prstGeom prst="rect">
            <a:avLst/>
          </a:prstGeom>
          <a:noFill/>
        </p:spPr>
        <p:txBody>
          <a:bodyPr wrap="square" rtlCol="0">
            <a:spAutoFit/>
          </a:bodyPr>
          <a:lstStyle/>
          <a:p>
            <a:endParaRPr lang="en-US"/>
          </a:p>
        </p:txBody>
      </p:sp>
      <p:sp>
        <p:nvSpPr>
          <p:cNvPr id="22" name="TextBox 21">
            <a:extLst>
              <a:ext uri="{FF2B5EF4-FFF2-40B4-BE49-F238E27FC236}">
                <a16:creationId xmlns:a16="http://schemas.microsoft.com/office/drawing/2014/main" id="{F8FD132A-48CA-4CA6-8B19-26672B49C333}"/>
              </a:ext>
            </a:extLst>
          </p:cNvPr>
          <p:cNvSpPr txBox="1"/>
          <p:nvPr userDrawn="1"/>
        </p:nvSpPr>
        <p:spPr>
          <a:xfrm>
            <a:off x="9473231" y="3237690"/>
            <a:ext cx="2160521" cy="418876"/>
          </a:xfrm>
          <a:prstGeom prst="rect">
            <a:avLst/>
          </a:prstGeom>
          <a:noFill/>
        </p:spPr>
        <p:txBody>
          <a:bodyPr wrap="square" rtlCol="0">
            <a:spAutoFit/>
          </a:bodyPr>
          <a:lstStyle/>
          <a:p>
            <a:endParaRPr lang="en-US"/>
          </a:p>
        </p:txBody>
      </p:sp>
    </p:spTree>
    <p:extLst>
      <p:ext uri="{BB962C8B-B14F-4D97-AF65-F5344CB8AC3E}">
        <p14:creationId xmlns:p14="http://schemas.microsoft.com/office/powerpoint/2010/main" val="112545908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4AF15263-6A2E-453A-A79F-FF96F04E4F53}"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3483017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72CF5CDC-4C00-4DE3-BC24-02FAED2C22B1}"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7328723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ADCF240B-A6AF-47BE-BC09-9582D116C990}"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6379466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07F5E1B7-7951-4737-8474-BE2F29E5DD8D}"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18132571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3334D3E0-C42E-4253-B0A6-5E94A0281705}"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97578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36D44590-3779-4064-BD0F-66097AA68E4A}"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6488752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CD940B13-5424-479D-8258-B30272D3D46C}"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1773467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6ED37F55-6560-489F-B103-B66AD48F3DF9}"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38834181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112E3333-A92D-423F-B72D-4C485E6DDD3D}"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8528411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8BE45BE-01F6-4DA4-9E8C-B6A0498B4718}"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90219801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E85B489-26CD-4E68-AA3E-C60A5E96AFD7}"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5" name="Picture 4" descr="Logo&#10;&#10;Description automatically generated">
            <a:extLst>
              <a:ext uri="{FF2B5EF4-FFF2-40B4-BE49-F238E27FC236}">
                <a16:creationId xmlns:a16="http://schemas.microsoft.com/office/drawing/2014/main" id="{AD25C652-3A12-4692-BB44-8656ED261CE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310152098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0A7CC8A-AEC3-4108-9CC2-FB76DDE103C2}"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3DA5CDC-80AD-45CF-A133-933656D7A598}"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2817091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5378F242-9085-425A-A1AF-5FD9C0EC1400}" type="datetime1">
              <a:rPr lang="en-US" smtClean="0"/>
              <a:t>8/1/2023</a:t>
            </a:fld>
            <a:endParaRPr lang="en-US"/>
          </a:p>
        </p:txBody>
      </p:sp>
      <p:sp>
        <p:nvSpPr>
          <p:cNvPr id="5" name="Footer Placeholder 4"/>
          <p:cNvSpPr>
            <a:spLocks noGrp="1"/>
          </p:cNvSpPr>
          <p:nvPr>
            <p:ph type="ftr" sz="quarter" idx="11"/>
          </p:nvPr>
        </p:nvSpPr>
        <p:spPr/>
        <p:txBody>
          <a:bodyPr/>
          <a:lstStyle/>
          <a:p>
            <a:r>
              <a:rPr lang="en-US"/>
              <a:t>Emergent Bilingual Support Division  |  TEA  2023</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69119393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3E7974-9C95-4A3B-8068-DE74E8BA0F4E}" type="datetime1">
              <a:rPr lang="en-US" smtClean="0"/>
              <a:t>8/1/2023</a:t>
            </a:fld>
            <a:endParaRPr lang="en-US"/>
          </a:p>
        </p:txBody>
      </p:sp>
      <p:sp>
        <p:nvSpPr>
          <p:cNvPr id="5" name="Footer Placeholder 4"/>
          <p:cNvSpPr>
            <a:spLocks noGrp="1"/>
          </p:cNvSpPr>
          <p:nvPr>
            <p:ph type="ftr" sz="quarter" idx="11"/>
          </p:nvPr>
        </p:nvSpPr>
        <p:spPr/>
        <p:txBody>
          <a:bodyPr/>
          <a:lstStyle/>
          <a:p>
            <a:r>
              <a:rPr lang="en-US"/>
              <a:t>Emergent Bilingual Support Division  |  TEA  2023</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59547342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CA99DE1B-3FF7-4A79-9BF4-B6095360F729}" type="datetime1">
              <a:rPr lang="en-US" smtClean="0"/>
              <a:t>8/1/2023</a:t>
            </a:fld>
            <a:endParaRPr lang="en-US"/>
          </a:p>
        </p:txBody>
      </p:sp>
      <p:sp>
        <p:nvSpPr>
          <p:cNvPr id="6" name="Footer Placeholder 5"/>
          <p:cNvSpPr>
            <a:spLocks noGrp="1"/>
          </p:cNvSpPr>
          <p:nvPr>
            <p:ph type="ftr" sz="quarter" idx="11"/>
          </p:nvPr>
        </p:nvSpPr>
        <p:spPr/>
        <p:txBody>
          <a:bodyPr/>
          <a:lstStyle/>
          <a:p>
            <a:r>
              <a:rPr lang="en-US"/>
              <a:t>Emergent Bilingual Support Division  |  TEA  2023</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86892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4DDD003D-1458-419F-AE4C-D9DC68760672}"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8530180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BF262633-4472-4E17-BC99-00CE7F7F92A6}" type="datetime1">
              <a:rPr lang="en-US" smtClean="0"/>
              <a:t>8/1/2023</a:t>
            </a:fld>
            <a:endParaRPr lang="en-US"/>
          </a:p>
        </p:txBody>
      </p:sp>
      <p:sp>
        <p:nvSpPr>
          <p:cNvPr id="5" name="Footer Placeholder 4"/>
          <p:cNvSpPr>
            <a:spLocks noGrp="1"/>
          </p:cNvSpPr>
          <p:nvPr>
            <p:ph type="ftr" sz="quarter" idx="11"/>
          </p:nvPr>
        </p:nvSpPr>
        <p:spPr/>
        <p:txBody>
          <a:bodyPr/>
          <a:lstStyle/>
          <a:p>
            <a:r>
              <a:rPr lang="en-US"/>
              <a:t>Emergent Bilingual Support Division  |  TEA  2023</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370893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E001DC26-7F06-43E6-ADDF-B71BF3825285}" type="datetime1">
              <a:rPr lang="en-US" smtClean="0"/>
              <a:t>8/1/2023</a:t>
            </a:fld>
            <a:endParaRPr lang="en-US"/>
          </a:p>
        </p:txBody>
      </p:sp>
      <p:sp>
        <p:nvSpPr>
          <p:cNvPr id="8" name="Footer Placeholder 7"/>
          <p:cNvSpPr>
            <a:spLocks noGrp="1"/>
          </p:cNvSpPr>
          <p:nvPr>
            <p:ph type="ftr" sz="quarter" idx="11"/>
          </p:nvPr>
        </p:nvSpPr>
        <p:spPr/>
        <p:txBody>
          <a:bodyPr/>
          <a:lstStyle/>
          <a:p>
            <a:r>
              <a:rPr lang="en-US"/>
              <a:t>Emergent Bilingual Support Division  |  TEA  2023</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00950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4574B28-BB24-448B-85AB-7A6C48818F4E}"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201081088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6E0B264-B6E7-40B4-BF1E-5D779A5A5149}"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94583160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039AC30-E3D7-422E-B637-DF2C0AA083B7}"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8567743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340BE55-94ED-4490-A729-E0238EAF3166}"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80986059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41E306E-4ECF-4617-9DFE-559B8B56A149}"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3327884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1553023-A658-4194-A7A2-8532B190D470}" type="datetime1">
              <a:rPr lang="en-US" smtClean="0"/>
              <a:t>8/1/2023</a:t>
            </a:fld>
            <a:endParaRPr lang="en-US"/>
          </a:p>
        </p:txBody>
      </p:sp>
      <p:sp>
        <p:nvSpPr>
          <p:cNvPr id="4" name="Footer Placeholder 3"/>
          <p:cNvSpPr>
            <a:spLocks noGrp="1"/>
          </p:cNvSpPr>
          <p:nvPr>
            <p:ph type="ftr" sz="quarter" idx="11"/>
          </p:nvPr>
        </p:nvSpPr>
        <p:spPr/>
        <p:txBody>
          <a:bodyPr/>
          <a:lstStyle/>
          <a:p>
            <a:r>
              <a:rPr lang="en-US"/>
              <a:t>Emergent Bilingual Support Division  |  TEA  2023</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60470267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181C8C24-E99B-4DDB-9A4F-F5975F88B689}" type="datetime1">
              <a:rPr lang="en-US" smtClean="0"/>
              <a:t>8/1/2023</a:t>
            </a:fld>
            <a:endParaRPr lang="en-US"/>
          </a:p>
        </p:txBody>
      </p:sp>
      <p:sp>
        <p:nvSpPr>
          <p:cNvPr id="8" name="Footer Placeholder 7"/>
          <p:cNvSpPr>
            <a:spLocks noGrp="1"/>
          </p:cNvSpPr>
          <p:nvPr>
            <p:ph type="ftr" sz="quarter" idx="11"/>
          </p:nvPr>
        </p:nvSpPr>
        <p:spPr/>
        <p:txBody>
          <a:bodyPr/>
          <a:lstStyle/>
          <a:p>
            <a:r>
              <a:rPr lang="en-US"/>
              <a:t>Emergent Bilingual Support Division  |  TEA  2023</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84007453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46DC856C-943B-4E78-B3D7-9706AFE21BA3}" type="datetime1">
              <a:rPr lang="en-US" smtClean="0"/>
              <a:t>8/1/2023</a:t>
            </a:fld>
            <a:endParaRPr lang="en-US"/>
          </a:p>
        </p:txBody>
      </p:sp>
      <p:sp>
        <p:nvSpPr>
          <p:cNvPr id="8" name="Footer Placeholder 7"/>
          <p:cNvSpPr>
            <a:spLocks noGrp="1"/>
          </p:cNvSpPr>
          <p:nvPr>
            <p:ph type="ftr" sz="quarter" idx="11"/>
          </p:nvPr>
        </p:nvSpPr>
        <p:spPr/>
        <p:txBody>
          <a:bodyPr/>
          <a:lstStyle/>
          <a:p>
            <a:r>
              <a:rPr lang="en-US"/>
              <a:t>Emergent Bilingual Support Division  |  TEA  2023</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8844862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A8F3672F-4123-417B-949F-E4145B8B1804}"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42188869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682CE528-F47F-4952-9DAC-9B328C11C03F}" type="datetime1">
              <a:rPr lang="en-US" smtClean="0"/>
              <a:t>8/1/2023</a:t>
            </a:fld>
            <a:endParaRPr lang="en-US"/>
          </a:p>
        </p:txBody>
      </p:sp>
      <p:sp>
        <p:nvSpPr>
          <p:cNvPr id="8" name="Footer Placeholder 7"/>
          <p:cNvSpPr>
            <a:spLocks noGrp="1"/>
          </p:cNvSpPr>
          <p:nvPr>
            <p:ph type="ftr" sz="quarter" idx="11"/>
          </p:nvPr>
        </p:nvSpPr>
        <p:spPr/>
        <p:txBody>
          <a:bodyPr/>
          <a:lstStyle/>
          <a:p>
            <a:r>
              <a:rPr lang="en-US"/>
              <a:t>Emergent Bilingual Support Division  |  TEA  2023</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51889995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713060-5110-4153-8A2B-004A473709F1}" type="datetime1">
              <a:rPr lang="en-US" smtClean="0"/>
              <a:t>8/1/2023</a:t>
            </a:fld>
            <a:endParaRPr lang="en-US"/>
          </a:p>
        </p:txBody>
      </p:sp>
      <p:sp>
        <p:nvSpPr>
          <p:cNvPr id="3" name="Footer Placeholder 2"/>
          <p:cNvSpPr>
            <a:spLocks noGrp="1"/>
          </p:cNvSpPr>
          <p:nvPr>
            <p:ph type="ftr" sz="quarter" idx="11"/>
          </p:nvPr>
        </p:nvSpPr>
        <p:spPr/>
        <p:txBody>
          <a:bodyPr/>
          <a:lstStyle/>
          <a:p>
            <a:r>
              <a:rPr lang="en-US"/>
              <a:t>Emergent Bilingual Support Division  |  TEA  2023</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1267067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E9AF0F75-0B08-4C95-9D5D-C310952C9BDA}"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09678898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PowerPoint: bit.ly/ELDivMay6th</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810433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5" name="Picture 4" descr="A group of people sitting at a table&#10;&#10;Description automatically generated with low confidence">
            <a:extLst>
              <a:ext uri="{FF2B5EF4-FFF2-40B4-BE49-F238E27FC236}">
                <a16:creationId xmlns:a16="http://schemas.microsoft.com/office/drawing/2014/main" id="{346EE1E1-5FD7-4704-9F8A-A816516ECA0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04354753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D73650-076F-4A3A-8B1D-4BC037C27D80}"/>
              </a:ext>
            </a:extLst>
          </p:cNvPr>
          <p:cNvPicPr>
            <a:picLocks noChangeAspect="1"/>
          </p:cNvPicPr>
          <p:nvPr userDrawn="1"/>
        </p:nvPicPr>
        <p:blipFill>
          <a:blip r:embed="rId2">
            <a:alphaModFix amt="65000"/>
            <a:extLst>
              <a:ext uri="{28A0092B-C50C-407E-A947-70E740481C1C}">
                <a14:useLocalDpi xmlns:a14="http://schemas.microsoft.com/office/drawing/2010/main" val="0"/>
              </a:ext>
            </a:extLst>
          </a:blip>
          <a:srcRect/>
          <a:stretch/>
        </p:blipFill>
        <p:spPr>
          <a:xfrm>
            <a:off x="1" y="0"/>
            <a:ext cx="12191999" cy="6858000"/>
          </a:xfrm>
          <a:prstGeom prst="rect">
            <a:avLst/>
          </a:prstGeom>
        </p:spPr>
      </p:pic>
      <p:sp>
        <p:nvSpPr>
          <p:cNvPr id="6" name="Rectangle 5">
            <a:extLst>
              <a:ext uri="{FF2B5EF4-FFF2-40B4-BE49-F238E27FC236}">
                <a16:creationId xmlns:a16="http://schemas.microsoft.com/office/drawing/2014/main" id="{D8732443-BF87-4A0B-85F0-31BAF645C908}"/>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782620" y="5860528"/>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12528164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PowerPoint: bit.ly/ELDivMay6th</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6040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9C3ADAD2-1684-4F30-A841-6BD2CEDE552A}"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331844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356D5123-13E3-40E7-8BE1-A19309513C48}"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990943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5" name="Picture 4" descr="A picture containing person, indoor, young, child&#10;&#10;Description automatically generated">
            <a:extLst>
              <a:ext uri="{FF2B5EF4-FFF2-40B4-BE49-F238E27FC236}">
                <a16:creationId xmlns:a16="http://schemas.microsoft.com/office/drawing/2014/main" id="{5FD3B9DE-7A77-4F01-8731-A2C5DC2FF04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757"/>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48676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E0A8989-55F7-4339-B1F3-356D925372B7}" type="datetime1">
              <a:rPr lang="en-US" smtClean="0">
                <a:solidFill>
                  <a:schemeClr val="accent1">
                    <a:lumMod val="60000"/>
                    <a:lumOff val="40000"/>
                  </a:schemeClr>
                </a:solidFill>
              </a:rPr>
              <a:t>8/1/2023</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Emergent Bilingual Support Division  |  TEA  2023</a:t>
            </a:r>
          </a:p>
        </p:txBody>
      </p:sp>
    </p:spTree>
    <p:extLst>
      <p:ext uri="{BB962C8B-B14F-4D97-AF65-F5344CB8AC3E}">
        <p14:creationId xmlns:p14="http://schemas.microsoft.com/office/powerpoint/2010/main" val="3352643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6_Title Slide">
    <p:spTree>
      <p:nvGrpSpPr>
        <p:cNvPr id="1" name=""/>
        <p:cNvGrpSpPr/>
        <p:nvPr/>
      </p:nvGrpSpPr>
      <p:grpSpPr>
        <a:xfrm>
          <a:off x="0" y="0"/>
          <a:ext cx="0" cy="0"/>
          <a:chOff x="0" y="0"/>
          <a:chExt cx="0" cy="0"/>
        </a:xfrm>
      </p:grpSpPr>
      <p:pic>
        <p:nvPicPr>
          <p:cNvPr id="5" name="Picture 4" descr="A picture containing text, person, indoor&#10;&#10;Description automatically generated">
            <a:extLst>
              <a:ext uri="{FF2B5EF4-FFF2-40B4-BE49-F238E27FC236}">
                <a16:creationId xmlns:a16="http://schemas.microsoft.com/office/drawing/2014/main" id="{7E338932-D6C0-4D76-8F45-EFB2231C3B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0"/>
          </a:xfrm>
          <a:prstGeom prst="rect">
            <a:avLst/>
          </a:prstGeom>
        </p:spPr>
      </p:pic>
      <p:sp>
        <p:nvSpPr>
          <p:cNvPr id="6" name="Rectangle 5">
            <a:extLst>
              <a:ext uri="{FF2B5EF4-FFF2-40B4-BE49-F238E27FC236}">
                <a16:creationId xmlns:a16="http://schemas.microsoft.com/office/drawing/2014/main" id="{1C01FA93-72B0-42FE-8EC8-BD72B621F40B}"/>
              </a:ext>
            </a:extLst>
          </p:cNvPr>
          <p:cNvSpPr/>
          <p:nvPr userDrawn="1"/>
        </p:nvSpPr>
        <p:spPr>
          <a:xfrm>
            <a:off x="-1" y="5292436"/>
            <a:ext cx="12192001" cy="1565564"/>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sign&#10;&#10;Description automatically generated">
            <a:extLst>
              <a:ext uri="{FF2B5EF4-FFF2-40B4-BE49-F238E27FC236}">
                <a16:creationId xmlns:a16="http://schemas.microsoft.com/office/drawing/2014/main" id="{73C3E415-4403-4D6F-90A6-4EAE975BE9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9448" y="5849357"/>
            <a:ext cx="1129303" cy="451722"/>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1628199" y="5849357"/>
            <a:ext cx="9227126" cy="604867"/>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9763225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4ACE39-D846-4A1F-AAE6-7FD4577BB436}"/>
              </a:ext>
            </a:extLst>
          </p:cNvPr>
          <p:cNvGraphicFramePr>
            <a:graphicFrameLocks noChangeAspect="1"/>
          </p:cNvGraphicFramePr>
          <p:nvPr userDrawn="1">
            <p:custDataLst>
              <p:tags r:id="rId1"/>
            </p:custDataLst>
            <p:extLst>
              <p:ext uri="{D42A27DB-BD31-4B8C-83A1-F6EECF244321}">
                <p14:modId xmlns:p14="http://schemas.microsoft.com/office/powerpoint/2010/main" val="2419950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764ACE39-D846-4A1F-AAE6-7FD4577B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group of people sitting in a room with large screens&#10;&#10;Description automatically generated with low confidence">
            <a:extLst>
              <a:ext uri="{FF2B5EF4-FFF2-40B4-BE49-F238E27FC236}">
                <a16:creationId xmlns:a16="http://schemas.microsoft.com/office/drawing/2014/main" id="{3694BA8F-FCBF-04A1-A745-E47A4B12A00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hidden="1">
            <a:extLst>
              <a:ext uri="{FF2B5EF4-FFF2-40B4-BE49-F238E27FC236}">
                <a16:creationId xmlns:a16="http://schemas.microsoft.com/office/drawing/2014/main" id="{FCD48684-DA42-4544-BD8E-B5159FDBAE1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Calibri" panose="020F0502020204030204" pitchFamily="34" charset="0"/>
              <a:ea typeface="+mj-ea"/>
              <a:cs typeface="+mj-cs"/>
              <a:sym typeface="Calibri" panose="020F0502020204030204" pitchFamily="34" charset="0"/>
            </a:endParaRPr>
          </a:p>
        </p:txBody>
      </p:sp>
      <p:sp>
        <p:nvSpPr>
          <p:cNvPr id="7" name="Rectangle 6">
            <a:extLst>
              <a:ext uri="{FF2B5EF4-FFF2-40B4-BE49-F238E27FC236}">
                <a16:creationId xmlns:a16="http://schemas.microsoft.com/office/drawing/2014/main" id="{30033EEE-3823-4FA0-9C86-2F8D1358CA62}"/>
              </a:ext>
            </a:extLst>
          </p:cNvPr>
          <p:cNvSpPr/>
          <p:nvPr userDrawn="1"/>
        </p:nvSpPr>
        <p:spPr>
          <a:xfrm>
            <a:off x="0" y="5384800"/>
            <a:ext cx="12192000" cy="14732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51630" y="5862967"/>
            <a:ext cx="1292160" cy="516865"/>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595419" y="5384800"/>
            <a:ext cx="8091054" cy="1473200"/>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8071845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E4DDB3-B159-BB75-404F-C1EEAD70115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43D8EA5-D712-8B0E-9987-AD7DCA0602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812EB9E-CC61-14C7-6500-3C757CAB2FCD}"/>
              </a:ext>
            </a:extLst>
          </p:cNvPr>
          <p:cNvSpPr>
            <a:spLocks noGrp="1"/>
          </p:cNvSpPr>
          <p:nvPr>
            <p:ph type="dt" sz="half" idx="10"/>
          </p:nvPr>
        </p:nvSpPr>
        <p:spPr/>
        <p:txBody>
          <a:bodyPr/>
          <a:lstStyle/>
          <a:p>
            <a:fld id="{6C0C2208-2D8B-47F3-83A2-8F3384B939F4}" type="datetime1">
              <a:rPr lang="en-US" smtClean="0"/>
              <a:t>8/1/2023</a:t>
            </a:fld>
            <a:endParaRPr lang="en-US"/>
          </a:p>
        </p:txBody>
      </p:sp>
      <p:sp>
        <p:nvSpPr>
          <p:cNvPr id="5" name="Footer Placeholder 4">
            <a:extLst>
              <a:ext uri="{FF2B5EF4-FFF2-40B4-BE49-F238E27FC236}">
                <a16:creationId xmlns:a16="http://schemas.microsoft.com/office/drawing/2014/main" id="{B1E20A7D-98FE-780A-82FB-3550AA1C90D3}"/>
              </a:ext>
            </a:extLst>
          </p:cNvPr>
          <p:cNvSpPr>
            <a:spLocks noGrp="1"/>
          </p:cNvSpPr>
          <p:nvPr>
            <p:ph type="ftr" sz="quarter" idx="11"/>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556996D9-05EC-A7D6-3C6B-CA029B8EE108}"/>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22889538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9315D-7F1F-56FF-0172-307DBF54C9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4C3B91-21D6-9C70-9171-C67CBBB7D1C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729DF2B-BE25-D31C-F8E1-5D1147CB9BF5}"/>
              </a:ext>
            </a:extLst>
          </p:cNvPr>
          <p:cNvSpPr>
            <a:spLocks noGrp="1"/>
          </p:cNvSpPr>
          <p:nvPr>
            <p:ph type="dt" sz="half" idx="10"/>
          </p:nvPr>
        </p:nvSpPr>
        <p:spPr/>
        <p:txBody>
          <a:bodyPr/>
          <a:lstStyle/>
          <a:p>
            <a:fld id="{532035C2-00D7-418B-B72E-B5B03DABE5F5}" type="datetime1">
              <a:rPr lang="en-US" smtClean="0"/>
              <a:t>8/1/2023</a:t>
            </a:fld>
            <a:endParaRPr lang="en-US"/>
          </a:p>
        </p:txBody>
      </p:sp>
      <p:sp>
        <p:nvSpPr>
          <p:cNvPr id="5" name="Footer Placeholder 4">
            <a:extLst>
              <a:ext uri="{FF2B5EF4-FFF2-40B4-BE49-F238E27FC236}">
                <a16:creationId xmlns:a16="http://schemas.microsoft.com/office/drawing/2014/main" id="{91F24067-4F9A-F8E8-544E-0EC965169666}"/>
              </a:ext>
            </a:extLst>
          </p:cNvPr>
          <p:cNvSpPr>
            <a:spLocks noGrp="1"/>
          </p:cNvSpPr>
          <p:nvPr>
            <p:ph type="ftr" sz="quarter" idx="11"/>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009CACB6-BC4D-B185-22C1-DD07D04B97D4}"/>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1342704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A9074-53A2-79C8-AAFE-196692F32F1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9B5A405-E155-E020-20AD-B085978BF0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215F73-9DF2-2DF2-4D71-420E2EAB198F}"/>
              </a:ext>
            </a:extLst>
          </p:cNvPr>
          <p:cNvSpPr>
            <a:spLocks noGrp="1"/>
          </p:cNvSpPr>
          <p:nvPr>
            <p:ph type="dt" sz="half" idx="10"/>
          </p:nvPr>
        </p:nvSpPr>
        <p:spPr/>
        <p:txBody>
          <a:bodyPr/>
          <a:lstStyle/>
          <a:p>
            <a:fld id="{849C848B-F100-4DC6-B1BF-813F23C77041}" type="datetime1">
              <a:rPr lang="en-US" smtClean="0"/>
              <a:t>8/1/2023</a:t>
            </a:fld>
            <a:endParaRPr lang="en-US"/>
          </a:p>
        </p:txBody>
      </p:sp>
      <p:sp>
        <p:nvSpPr>
          <p:cNvPr id="5" name="Footer Placeholder 4">
            <a:extLst>
              <a:ext uri="{FF2B5EF4-FFF2-40B4-BE49-F238E27FC236}">
                <a16:creationId xmlns:a16="http://schemas.microsoft.com/office/drawing/2014/main" id="{6B789ADC-7937-2972-CC31-0DED6FE0CE71}"/>
              </a:ext>
            </a:extLst>
          </p:cNvPr>
          <p:cNvSpPr>
            <a:spLocks noGrp="1"/>
          </p:cNvSpPr>
          <p:nvPr>
            <p:ph type="ftr" sz="quarter" idx="11"/>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4C4CC51F-0725-8370-5F8F-E2ABA186E6FF}"/>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19311890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67B24-3110-F7D9-3DA0-47733C2C62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05CF95-B971-89BA-1375-4C7B21DFBD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F867F7-0A4D-DAC8-198D-AEA674F9368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46FB8D7-5116-123E-BB56-00B067055C07}"/>
              </a:ext>
            </a:extLst>
          </p:cNvPr>
          <p:cNvSpPr>
            <a:spLocks noGrp="1"/>
          </p:cNvSpPr>
          <p:nvPr>
            <p:ph type="dt" sz="half" idx="10"/>
          </p:nvPr>
        </p:nvSpPr>
        <p:spPr/>
        <p:txBody>
          <a:bodyPr/>
          <a:lstStyle/>
          <a:p>
            <a:fld id="{1E8D4E90-14D3-4CB8-9979-0D4D46228A2A}" type="datetime1">
              <a:rPr lang="en-US" smtClean="0"/>
              <a:t>8/1/2023</a:t>
            </a:fld>
            <a:endParaRPr lang="en-US"/>
          </a:p>
        </p:txBody>
      </p:sp>
      <p:sp>
        <p:nvSpPr>
          <p:cNvPr id="6" name="Footer Placeholder 5">
            <a:extLst>
              <a:ext uri="{FF2B5EF4-FFF2-40B4-BE49-F238E27FC236}">
                <a16:creationId xmlns:a16="http://schemas.microsoft.com/office/drawing/2014/main" id="{60C15B06-030A-959B-F7B8-CA9DEC8181AF}"/>
              </a:ext>
            </a:extLst>
          </p:cNvPr>
          <p:cNvSpPr>
            <a:spLocks noGrp="1"/>
          </p:cNvSpPr>
          <p:nvPr>
            <p:ph type="ftr" sz="quarter" idx="11"/>
          </p:nvPr>
        </p:nvSpPr>
        <p:spPr/>
        <p:txBody>
          <a:bodyPr/>
          <a:lstStyle/>
          <a:p>
            <a:r>
              <a:rPr lang="en-US"/>
              <a:t>Emergent Bilingual Support Division  |  TEA  2023</a:t>
            </a:r>
          </a:p>
        </p:txBody>
      </p:sp>
      <p:sp>
        <p:nvSpPr>
          <p:cNvPr id="7" name="Slide Number Placeholder 6">
            <a:extLst>
              <a:ext uri="{FF2B5EF4-FFF2-40B4-BE49-F238E27FC236}">
                <a16:creationId xmlns:a16="http://schemas.microsoft.com/office/drawing/2014/main" id="{3CEDFB62-0DC9-DD21-87FA-33A749DC7EAA}"/>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16021739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0FAC7-DD8A-F9C8-17B7-5905A4E2F0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A320547-52D5-22C1-7DDF-7147CC7D345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26A4BC9-8B5E-C465-C480-9FA4925BAC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626C78-4C8A-2A2A-19C1-894B0A2E007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E1B52CE-C4BF-47E4-3B66-D6C3881CB0B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3652B4-CCA9-0546-23B8-000F9D8B66F0}"/>
              </a:ext>
            </a:extLst>
          </p:cNvPr>
          <p:cNvSpPr>
            <a:spLocks noGrp="1"/>
          </p:cNvSpPr>
          <p:nvPr>
            <p:ph type="dt" sz="half" idx="10"/>
          </p:nvPr>
        </p:nvSpPr>
        <p:spPr/>
        <p:txBody>
          <a:bodyPr/>
          <a:lstStyle/>
          <a:p>
            <a:fld id="{FB502450-EC29-498E-A7A6-DCE4CCF9C70C}" type="datetime1">
              <a:rPr lang="en-US" smtClean="0"/>
              <a:t>8/1/2023</a:t>
            </a:fld>
            <a:endParaRPr lang="en-US"/>
          </a:p>
        </p:txBody>
      </p:sp>
      <p:sp>
        <p:nvSpPr>
          <p:cNvPr id="8" name="Footer Placeholder 7">
            <a:extLst>
              <a:ext uri="{FF2B5EF4-FFF2-40B4-BE49-F238E27FC236}">
                <a16:creationId xmlns:a16="http://schemas.microsoft.com/office/drawing/2014/main" id="{98535A4C-9123-903F-5955-DE37B7D6EA78}"/>
              </a:ext>
            </a:extLst>
          </p:cNvPr>
          <p:cNvSpPr>
            <a:spLocks noGrp="1"/>
          </p:cNvSpPr>
          <p:nvPr>
            <p:ph type="ftr" sz="quarter" idx="11"/>
          </p:nvPr>
        </p:nvSpPr>
        <p:spPr/>
        <p:txBody>
          <a:bodyPr/>
          <a:lstStyle/>
          <a:p>
            <a:r>
              <a:rPr lang="en-US"/>
              <a:t>Emergent Bilingual Support Division  |  TEA  2023</a:t>
            </a:r>
          </a:p>
        </p:txBody>
      </p:sp>
      <p:sp>
        <p:nvSpPr>
          <p:cNvPr id="9" name="Slide Number Placeholder 8">
            <a:extLst>
              <a:ext uri="{FF2B5EF4-FFF2-40B4-BE49-F238E27FC236}">
                <a16:creationId xmlns:a16="http://schemas.microsoft.com/office/drawing/2014/main" id="{C2C520B7-D592-DBDC-527C-8EDD2151BDD1}"/>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3724454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5BAE5-AB95-8C15-0430-5F167DF27ED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F89688-1B62-022F-AAD6-1C2701512340}"/>
              </a:ext>
            </a:extLst>
          </p:cNvPr>
          <p:cNvSpPr>
            <a:spLocks noGrp="1"/>
          </p:cNvSpPr>
          <p:nvPr>
            <p:ph type="dt" sz="half" idx="10"/>
          </p:nvPr>
        </p:nvSpPr>
        <p:spPr/>
        <p:txBody>
          <a:bodyPr/>
          <a:lstStyle/>
          <a:p>
            <a:fld id="{0E9F1AB0-E5AB-49DB-AAEA-1FEFFCDB8477}" type="datetime1">
              <a:rPr lang="en-US" smtClean="0"/>
              <a:t>8/1/2023</a:t>
            </a:fld>
            <a:endParaRPr lang="en-US"/>
          </a:p>
        </p:txBody>
      </p:sp>
      <p:sp>
        <p:nvSpPr>
          <p:cNvPr id="4" name="Footer Placeholder 3">
            <a:extLst>
              <a:ext uri="{FF2B5EF4-FFF2-40B4-BE49-F238E27FC236}">
                <a16:creationId xmlns:a16="http://schemas.microsoft.com/office/drawing/2014/main" id="{F4B30576-CC05-1412-F9D2-ACB5BF7B56F6}"/>
              </a:ext>
            </a:extLst>
          </p:cNvPr>
          <p:cNvSpPr>
            <a:spLocks noGrp="1"/>
          </p:cNvSpPr>
          <p:nvPr>
            <p:ph type="ftr" sz="quarter" idx="11"/>
          </p:nvPr>
        </p:nvSpPr>
        <p:spPr/>
        <p:txBody>
          <a:bodyPr/>
          <a:lstStyle/>
          <a:p>
            <a:r>
              <a:rPr lang="en-US"/>
              <a:t>Emergent Bilingual Support Division  |  TEA  2023</a:t>
            </a:r>
          </a:p>
        </p:txBody>
      </p:sp>
      <p:sp>
        <p:nvSpPr>
          <p:cNvPr id="5" name="Slide Number Placeholder 4">
            <a:extLst>
              <a:ext uri="{FF2B5EF4-FFF2-40B4-BE49-F238E27FC236}">
                <a16:creationId xmlns:a16="http://schemas.microsoft.com/office/drawing/2014/main" id="{1A4AF38D-483D-A69A-6ED5-3B98C3794807}"/>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41876963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E4E2C7-7F98-6D13-E658-BD9E346B44A2}"/>
              </a:ext>
            </a:extLst>
          </p:cNvPr>
          <p:cNvSpPr>
            <a:spLocks noGrp="1"/>
          </p:cNvSpPr>
          <p:nvPr>
            <p:ph type="dt" sz="half" idx="10"/>
          </p:nvPr>
        </p:nvSpPr>
        <p:spPr/>
        <p:txBody>
          <a:bodyPr/>
          <a:lstStyle/>
          <a:p>
            <a:fld id="{1C9506E8-375B-455D-9613-0B00A96939FC}" type="datetime1">
              <a:rPr lang="en-US" smtClean="0"/>
              <a:t>8/1/2023</a:t>
            </a:fld>
            <a:endParaRPr lang="en-US"/>
          </a:p>
        </p:txBody>
      </p:sp>
      <p:sp>
        <p:nvSpPr>
          <p:cNvPr id="3" name="Footer Placeholder 2">
            <a:extLst>
              <a:ext uri="{FF2B5EF4-FFF2-40B4-BE49-F238E27FC236}">
                <a16:creationId xmlns:a16="http://schemas.microsoft.com/office/drawing/2014/main" id="{6EDA4DEA-2780-D0C2-BC19-E82A7FD56657}"/>
              </a:ext>
            </a:extLst>
          </p:cNvPr>
          <p:cNvSpPr>
            <a:spLocks noGrp="1"/>
          </p:cNvSpPr>
          <p:nvPr>
            <p:ph type="ftr" sz="quarter" idx="11"/>
          </p:nvPr>
        </p:nvSpPr>
        <p:spPr/>
        <p:txBody>
          <a:bodyPr/>
          <a:lstStyle/>
          <a:p>
            <a:r>
              <a:rPr lang="en-US"/>
              <a:t>Emergent Bilingual Support Division  |  TEA  2023</a:t>
            </a:r>
          </a:p>
        </p:txBody>
      </p:sp>
      <p:sp>
        <p:nvSpPr>
          <p:cNvPr id="4" name="Slide Number Placeholder 3">
            <a:extLst>
              <a:ext uri="{FF2B5EF4-FFF2-40B4-BE49-F238E27FC236}">
                <a16:creationId xmlns:a16="http://schemas.microsoft.com/office/drawing/2014/main" id="{6A3380DB-7E91-2DEB-CED0-43DF0B4F7C99}"/>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942130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5" name="Picture 4" descr="A group of people looking at a computer&#10;&#10;Description automatically generated">
            <a:extLst>
              <a:ext uri="{FF2B5EF4-FFF2-40B4-BE49-F238E27FC236}">
                <a16:creationId xmlns:a16="http://schemas.microsoft.com/office/drawing/2014/main" id="{87372D4B-DD33-4618-921B-A8CA98F88C7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963" b="7618"/>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7896840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24993-A02B-585D-09AA-BB6F982559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BD081F-9904-FCE6-5B75-64832BB9E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A7840A-214D-884B-5702-A56E8F4830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58AD202-60F0-4874-23C7-4C4ACF652491}"/>
              </a:ext>
            </a:extLst>
          </p:cNvPr>
          <p:cNvSpPr>
            <a:spLocks noGrp="1"/>
          </p:cNvSpPr>
          <p:nvPr>
            <p:ph type="dt" sz="half" idx="10"/>
          </p:nvPr>
        </p:nvSpPr>
        <p:spPr/>
        <p:txBody>
          <a:bodyPr/>
          <a:lstStyle/>
          <a:p>
            <a:fld id="{56FAA585-3A22-418D-A03D-76211A526484}" type="datetime1">
              <a:rPr lang="en-US" smtClean="0"/>
              <a:t>8/1/2023</a:t>
            </a:fld>
            <a:endParaRPr lang="en-US"/>
          </a:p>
        </p:txBody>
      </p:sp>
      <p:sp>
        <p:nvSpPr>
          <p:cNvPr id="6" name="Footer Placeholder 5">
            <a:extLst>
              <a:ext uri="{FF2B5EF4-FFF2-40B4-BE49-F238E27FC236}">
                <a16:creationId xmlns:a16="http://schemas.microsoft.com/office/drawing/2014/main" id="{A35AD2E5-ECA0-F900-7DEF-FCF9F198B7BE}"/>
              </a:ext>
            </a:extLst>
          </p:cNvPr>
          <p:cNvSpPr>
            <a:spLocks noGrp="1"/>
          </p:cNvSpPr>
          <p:nvPr>
            <p:ph type="ftr" sz="quarter" idx="11"/>
          </p:nvPr>
        </p:nvSpPr>
        <p:spPr/>
        <p:txBody>
          <a:bodyPr/>
          <a:lstStyle/>
          <a:p>
            <a:r>
              <a:rPr lang="en-US"/>
              <a:t>Emergent Bilingual Support Division  |  TEA  2023</a:t>
            </a:r>
          </a:p>
        </p:txBody>
      </p:sp>
      <p:sp>
        <p:nvSpPr>
          <p:cNvPr id="7" name="Slide Number Placeholder 6">
            <a:extLst>
              <a:ext uri="{FF2B5EF4-FFF2-40B4-BE49-F238E27FC236}">
                <a16:creationId xmlns:a16="http://schemas.microsoft.com/office/drawing/2014/main" id="{89A713D6-BC16-521F-DD3E-974C6CDA8FAF}"/>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1558174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4C236A-E5D7-17FC-12D9-05D798432D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84B9D35-D244-8DED-8CE4-D08222A4F14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A1BB50-650B-A6FA-C4BE-373ECBB3BE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80B52D-D600-E89B-3808-C1CDAC009BDB}"/>
              </a:ext>
            </a:extLst>
          </p:cNvPr>
          <p:cNvSpPr>
            <a:spLocks noGrp="1"/>
          </p:cNvSpPr>
          <p:nvPr>
            <p:ph type="dt" sz="half" idx="10"/>
          </p:nvPr>
        </p:nvSpPr>
        <p:spPr/>
        <p:txBody>
          <a:bodyPr/>
          <a:lstStyle/>
          <a:p>
            <a:fld id="{13C7654A-5BD5-4C08-A882-8156EDA46894}" type="datetime1">
              <a:rPr lang="en-US" smtClean="0"/>
              <a:t>8/1/2023</a:t>
            </a:fld>
            <a:endParaRPr lang="en-US"/>
          </a:p>
        </p:txBody>
      </p:sp>
      <p:sp>
        <p:nvSpPr>
          <p:cNvPr id="6" name="Footer Placeholder 5">
            <a:extLst>
              <a:ext uri="{FF2B5EF4-FFF2-40B4-BE49-F238E27FC236}">
                <a16:creationId xmlns:a16="http://schemas.microsoft.com/office/drawing/2014/main" id="{2550BD87-CD14-95D1-3A0B-7AB79B3CCBBF}"/>
              </a:ext>
            </a:extLst>
          </p:cNvPr>
          <p:cNvSpPr>
            <a:spLocks noGrp="1"/>
          </p:cNvSpPr>
          <p:nvPr>
            <p:ph type="ftr" sz="quarter" idx="11"/>
          </p:nvPr>
        </p:nvSpPr>
        <p:spPr/>
        <p:txBody>
          <a:bodyPr/>
          <a:lstStyle/>
          <a:p>
            <a:r>
              <a:rPr lang="en-US"/>
              <a:t>Emergent Bilingual Support Division  |  TEA  2023</a:t>
            </a:r>
          </a:p>
        </p:txBody>
      </p:sp>
      <p:sp>
        <p:nvSpPr>
          <p:cNvPr id="7" name="Slide Number Placeholder 6">
            <a:extLst>
              <a:ext uri="{FF2B5EF4-FFF2-40B4-BE49-F238E27FC236}">
                <a16:creationId xmlns:a16="http://schemas.microsoft.com/office/drawing/2014/main" id="{CDB27D83-B0AF-A199-CF52-C9E5456674DA}"/>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24488714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28475-089D-A669-6BFF-60E6B8154B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58BD6A-4415-392A-3529-0F70ABB3A7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C56000-F8A7-BAC5-00D1-85585DDFF888}"/>
              </a:ext>
            </a:extLst>
          </p:cNvPr>
          <p:cNvSpPr>
            <a:spLocks noGrp="1"/>
          </p:cNvSpPr>
          <p:nvPr>
            <p:ph type="dt" sz="half" idx="10"/>
          </p:nvPr>
        </p:nvSpPr>
        <p:spPr/>
        <p:txBody>
          <a:bodyPr/>
          <a:lstStyle/>
          <a:p>
            <a:fld id="{A1C3D106-0A0E-48D9-8998-7CD792327C6A}" type="datetime1">
              <a:rPr lang="en-US" smtClean="0"/>
              <a:t>8/1/2023</a:t>
            </a:fld>
            <a:endParaRPr lang="en-US"/>
          </a:p>
        </p:txBody>
      </p:sp>
      <p:sp>
        <p:nvSpPr>
          <p:cNvPr id="5" name="Footer Placeholder 4">
            <a:extLst>
              <a:ext uri="{FF2B5EF4-FFF2-40B4-BE49-F238E27FC236}">
                <a16:creationId xmlns:a16="http://schemas.microsoft.com/office/drawing/2014/main" id="{6F08E001-37DB-A21C-849B-E794F0E91856}"/>
              </a:ext>
            </a:extLst>
          </p:cNvPr>
          <p:cNvSpPr>
            <a:spLocks noGrp="1"/>
          </p:cNvSpPr>
          <p:nvPr>
            <p:ph type="ftr" sz="quarter" idx="11"/>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62BE03BB-5902-96A8-AE78-BC8B587B5712}"/>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12002565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7A37B0F-0686-6985-2AC0-8CA7994B042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84D9557-63CF-FF9E-F1BE-647246F5C01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4687FB-65F3-9795-9732-CD27D6044285}"/>
              </a:ext>
            </a:extLst>
          </p:cNvPr>
          <p:cNvSpPr>
            <a:spLocks noGrp="1"/>
          </p:cNvSpPr>
          <p:nvPr>
            <p:ph type="dt" sz="half" idx="10"/>
          </p:nvPr>
        </p:nvSpPr>
        <p:spPr/>
        <p:txBody>
          <a:bodyPr/>
          <a:lstStyle/>
          <a:p>
            <a:fld id="{040AF116-111A-41D2-9042-0E7667D4B5D3}" type="datetime1">
              <a:rPr lang="en-US" smtClean="0"/>
              <a:t>8/1/2023</a:t>
            </a:fld>
            <a:endParaRPr lang="en-US"/>
          </a:p>
        </p:txBody>
      </p:sp>
      <p:sp>
        <p:nvSpPr>
          <p:cNvPr id="5" name="Footer Placeholder 4">
            <a:extLst>
              <a:ext uri="{FF2B5EF4-FFF2-40B4-BE49-F238E27FC236}">
                <a16:creationId xmlns:a16="http://schemas.microsoft.com/office/drawing/2014/main" id="{3FFD8539-C558-491C-A25E-1234F258928D}"/>
              </a:ext>
            </a:extLst>
          </p:cNvPr>
          <p:cNvSpPr>
            <a:spLocks noGrp="1"/>
          </p:cNvSpPr>
          <p:nvPr>
            <p:ph type="ftr" sz="quarter" idx="11"/>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3BF14FD6-51D2-F1E3-CF9F-01B0B7FEABF5}"/>
              </a:ext>
            </a:extLst>
          </p:cNvPr>
          <p:cNvSpPr>
            <a:spLocks noGrp="1"/>
          </p:cNvSpPr>
          <p:nvPr>
            <p:ph type="sldNum" sz="quarter" idx="12"/>
          </p:nvPr>
        </p:nvSpPr>
        <p:spPr/>
        <p:txBody>
          <a:bodyPr/>
          <a:lstStyle/>
          <a:p>
            <a:fld id="{C871F3B9-D1F2-4999-87C8-8DC22F4A0D39}" type="slidenum">
              <a:rPr lang="en-US" smtClean="0"/>
              <a:t>‹#›</a:t>
            </a:fld>
            <a:endParaRPr lang="en-US"/>
          </a:p>
        </p:txBody>
      </p:sp>
    </p:spTree>
    <p:extLst>
      <p:ext uri="{BB962C8B-B14F-4D97-AF65-F5344CB8AC3E}">
        <p14:creationId xmlns:p14="http://schemas.microsoft.com/office/powerpoint/2010/main" val="35984975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7155383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3996659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41145788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9141880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1242183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289800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4" name="Picture 3" descr="A picture containing person, child, food, table&#10;&#10;Description automatically generated">
            <a:extLst>
              <a:ext uri="{FF2B5EF4-FFF2-40B4-BE49-F238E27FC236}">
                <a16:creationId xmlns:a16="http://schemas.microsoft.com/office/drawing/2014/main" id="{5F0F1C78-2ED7-4653-A96F-8CE94EC875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507" y="-1011486"/>
            <a:ext cx="11830493" cy="7886996"/>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0719318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184444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26" name="Picture 2" descr="learning at home">
            <a:extLst>
              <a:ext uri="{FF2B5EF4-FFF2-40B4-BE49-F238E27FC236}">
                <a16:creationId xmlns:a16="http://schemas.microsoft.com/office/drawing/2014/main" id="{DEF65620-7BCF-41F6-9EC7-A9253068F63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4839" t="-258" r="22519" b="-65"/>
          <a:stretch/>
        </p:blipFill>
        <p:spPr bwMode="auto">
          <a:xfrm>
            <a:off x="0" y="-66675"/>
            <a:ext cx="13580541" cy="69246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4262936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2E51008-65E2-4A0E-9814-5F7CB553A79D}"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3414074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3CAAE793-B86F-43E1-8700-91CD04A29B2F}"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439439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D5045F1-148C-483C-B566-81066A65C5CC}"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32039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367201" y="1017570"/>
            <a:ext cx="11466836" cy="1366060"/>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367200" y="2506662"/>
            <a:ext cx="5516364" cy="3402063"/>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EC3C541-5B9F-4F74-A034-7DFE5B47F824}"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
        <p:nvSpPr>
          <p:cNvPr id="15" name="Content Placeholder 2">
            <a:extLst>
              <a:ext uri="{FF2B5EF4-FFF2-40B4-BE49-F238E27FC236}">
                <a16:creationId xmlns:a16="http://schemas.microsoft.com/office/drawing/2014/main" id="{ED91410F-652A-4CA8-9496-DCA236FC9165}"/>
              </a:ext>
            </a:extLst>
          </p:cNvPr>
          <p:cNvSpPr>
            <a:spLocks noGrp="1"/>
          </p:cNvSpPr>
          <p:nvPr>
            <p:ph idx="14"/>
          </p:nvPr>
        </p:nvSpPr>
        <p:spPr>
          <a:xfrm>
            <a:off x="6317672" y="2534528"/>
            <a:ext cx="5516364" cy="3374197"/>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A8A37FE4-D1B1-4AD2-9AE5-1DA71D714D73}"/>
              </a:ext>
            </a:extLst>
          </p:cNvPr>
          <p:cNvSpPr/>
          <p:nvPr userDrawn="1"/>
        </p:nvSpPr>
        <p:spPr>
          <a:xfrm>
            <a:off x="357964" y="1017569"/>
            <a:ext cx="11474661" cy="140807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6" name="Rectangle 15">
            <a:extLst>
              <a:ext uri="{FF2B5EF4-FFF2-40B4-BE49-F238E27FC236}">
                <a16:creationId xmlns:a16="http://schemas.microsoft.com/office/drawing/2014/main" id="{ECEC2E01-B4EE-4D3B-B929-C02E6DC8ECC4}"/>
              </a:ext>
            </a:extLst>
          </p:cNvPr>
          <p:cNvSpPr/>
          <p:nvPr userDrawn="1"/>
        </p:nvSpPr>
        <p:spPr>
          <a:xfrm>
            <a:off x="368612" y="2529455"/>
            <a:ext cx="5514952" cy="340206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17" name="Rectangle 16">
            <a:extLst>
              <a:ext uri="{FF2B5EF4-FFF2-40B4-BE49-F238E27FC236}">
                <a16:creationId xmlns:a16="http://schemas.microsoft.com/office/drawing/2014/main" id="{8D1C1647-13BA-4BEC-B0B9-5D728A43A22F}"/>
              </a:ext>
            </a:extLst>
          </p:cNvPr>
          <p:cNvSpPr/>
          <p:nvPr userDrawn="1"/>
        </p:nvSpPr>
        <p:spPr>
          <a:xfrm>
            <a:off x="6317672" y="2525133"/>
            <a:ext cx="5514952" cy="3402063"/>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Tree>
    <p:extLst>
      <p:ext uri="{BB962C8B-B14F-4D97-AF65-F5344CB8AC3E}">
        <p14:creationId xmlns:p14="http://schemas.microsoft.com/office/powerpoint/2010/main" val="19806345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99909DBF-612A-4698-96F2-4BACE5227285}"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200710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7B873D75-CA88-4636-A0CA-49AE365E1801}"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831221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F81B653-089B-4E22-9949-9FCB9B503CEF}"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6673975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CFE0653-708E-4F40-A382-3A80E8CAB75F}"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28170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6" name="Picture 5" descr="A group of people sitting at a table using a computer&#10;&#10;Description automatically generated">
            <a:extLst>
              <a:ext uri="{FF2B5EF4-FFF2-40B4-BE49-F238E27FC236}">
                <a16:creationId xmlns:a16="http://schemas.microsoft.com/office/drawing/2014/main" id="{382938C8-4AB8-4CD4-8E1F-B4C83A582A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1507" y="0"/>
            <a:ext cx="11830493" cy="7866916"/>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rgbClr val="00206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4870127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A901B0FD-E8CF-4F7C-8816-F8A80363F7B3}"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212874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3C836038-DDD1-4B00-8BE8-D588C413FAC3}"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7938886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7D09B789-0D37-491B-B9F0-264E6924A24B}"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5809007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8F4DEF9B-8750-4778-BA46-CF7A0A58D56F}"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6588568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598BE23A-91F6-4833-9FC9-B5544E649010}"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405741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723D5169-D114-4A89-AA79-B6E914E437CD}"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2624697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BCCB95BC-CF31-4384-B169-F993A36A337F}"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60169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0B632A68-65F9-463C-9012-4CC79CE6593F}"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3560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6F879F8B-B249-47D1-A16A-A16B5DC80067}"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7886307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58ED014E-A6F8-406E-A5D6-04B245DC70E7}"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907109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97537" y="463296"/>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786588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5AD55A95-1D35-45F8-A733-FCC702D4CE60}" type="datetime1">
              <a:rPr lang="en-US" smtClean="0"/>
              <a:t>8/1/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9410593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EE3D8FF6-308E-45AC-820B-D208FBABBCCA}" type="datetime1">
              <a:rPr lang="en-US" smtClean="0"/>
              <a:t>8/1/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08877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369BAA9C-3B70-4645-8164-C5AFFD5E7774}" type="datetime1">
              <a:rPr lang="en-US" smtClean="0"/>
              <a:t>8/1/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334042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72C103B2-0ABC-473F-A316-4CCE63AEFFFF}" type="datetime1">
              <a:rPr lang="en-US" smtClean="0"/>
              <a:t>8/1/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42090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E5237F2-52ED-4F11-8D98-6682550DB87F}" type="datetime1">
              <a:rPr lang="en-US" smtClean="0">
                <a:solidFill>
                  <a:schemeClr val="accent1">
                    <a:lumMod val="60000"/>
                    <a:lumOff val="40000"/>
                  </a:schemeClr>
                </a:solidFill>
              </a:rPr>
              <a:t>8/1/2023</a:t>
            </a:fld>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Emergent Bilingual Support Division  |  TEA  2023</a:t>
            </a:r>
          </a:p>
        </p:txBody>
      </p:sp>
    </p:spTree>
    <p:extLst>
      <p:ext uri="{BB962C8B-B14F-4D97-AF65-F5344CB8AC3E}">
        <p14:creationId xmlns:p14="http://schemas.microsoft.com/office/powerpoint/2010/main" val="37036385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9538380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7781608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6220069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6102056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589061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9" name="Picture 8" descr="A group of people sitting at a table&#10;&#10;Description automatically generated">
            <a:extLst>
              <a:ext uri="{FF2B5EF4-FFF2-40B4-BE49-F238E27FC236}">
                <a16:creationId xmlns:a16="http://schemas.microsoft.com/office/drawing/2014/main" id="{15B7F631-AEB3-4687-948F-7697BF8E82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0447" b="13072"/>
          <a:stretch/>
        </p:blipFill>
        <p:spPr>
          <a:xfrm>
            <a:off x="0" y="0"/>
            <a:ext cx="1345745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46743680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7684949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3297548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52687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370934D-46AF-4D34-ACAF-EF2CFF0FAEF4}"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118226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2EF8E44B-7612-4C95-91DD-C30CBAE86A8D}" type="datetime1">
              <a:rPr lang="en-US" smtClean="0"/>
              <a:t>8/1/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34166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8FB88C7E-CE71-4766-8964-C51BB93AAC60}" type="datetime1">
              <a:rPr lang="en-US" smtClean="0"/>
              <a:t>8/1/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631729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07D794A6-A7DC-40D9-887C-AE0046FF0D50}" type="datetime1">
              <a:rPr lang="en-US" smtClean="0"/>
              <a:t>8/1/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8089873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50CCC0AF-B0D3-41A0-BA00-A109A6E094D7}" type="datetime1">
              <a:rPr lang="en-US" smtClean="0"/>
              <a:t>8/1/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02070800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1E14981-82F8-4861-9066-D61DCE1A1CC8}" type="datetime1">
              <a:rPr lang="en-US" smtClean="0"/>
              <a:t>8/1/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221187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7DC5ED6-4EAA-464F-8D2B-D886BBBA433E}" type="datetime1">
              <a:rPr lang="en-US" smtClean="0"/>
              <a:t>8/1/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416340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629900"/>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solidFill>
                  <a:schemeClr val="tx1"/>
                </a:solidFill>
              </a:rPr>
              <a:t>Emergent Bilingual Support Division  |  TEA  2023</a:t>
            </a:r>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FA1D8A8-D0AC-4344-A6A9-72DA48077D8A}" type="datetime1">
              <a:rPr lang="en-US" smtClean="0"/>
              <a:t>8/1/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5664803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Emergent Bilingual Support Division  |  TEA  2023</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C8E87EF-C099-47C3-8AE1-9059453DB497}" type="datetime1">
              <a:rPr lang="en-US" smtClean="0"/>
              <a:t>8/1/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125772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D742DB95-C679-4984-9785-0C064E321A83}"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691451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A11D4875-36A8-4880-BF0D-93C50284A564}"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5120273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BCEA22F1-0D1C-4092-9216-E8EA38C036E8}" type="datetime1">
              <a:rPr lang="en-US" smtClean="0"/>
              <a:t>8/1/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2310118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B220AA05-A2BC-4807-A3B6-26851EE5B9D9}" type="datetime1">
              <a:rPr lang="en-US" smtClean="0"/>
              <a:t>8/1/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210258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1D6E779A-CE9D-4F6C-920B-318CFA9F30B0}" type="datetime1">
              <a:rPr lang="en-US" smtClean="0"/>
              <a:t>8/1/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7106055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CA9543B4-9318-4F96-94AC-4B5EC974AC9A}" type="datetime1">
              <a:rPr lang="en-US" smtClean="0"/>
              <a:t>8/1/2023</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869108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353C4EB1-567E-41D7-8FD2-6DED3EACBEE6}" type="datetime1">
              <a:rPr lang="en-US" smtClean="0"/>
              <a:t>8/1/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4778916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6DD9975E-C8A1-4C9C-9899-6675A5D6D1A0}" type="datetime1">
              <a:rPr lang="en-US" smtClean="0"/>
              <a:t>8/1/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7106163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CF7203AF-A00A-47F2-8987-EAF00BF02380}" type="datetime1">
              <a:rPr lang="en-US" smtClean="0"/>
              <a:t>8/1/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Emergent Bilingual Support Division  |  TEA  2023</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8/1/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192548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1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2" Type="http://schemas.openxmlformats.org/officeDocument/2006/relationships/slideLayout" Target="../slideLayouts/slideLayout193.xml"/><Relationship Id="rId16" Type="http://schemas.openxmlformats.org/officeDocument/2006/relationships/theme" Target="../theme/theme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208.xml"/><Relationship Id="rId1" Type="http://schemas.openxmlformats.org/officeDocument/2006/relationships/slideLayout" Target="../slideLayouts/slideLayout207.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09.xml"/></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heme" Target="../theme/theme14.xml"/><Relationship Id="rId1" Type="http://schemas.openxmlformats.org/officeDocument/2006/relationships/slideLayout" Target="../slideLayouts/slideLayout210.xml"/><Relationship Id="rId6" Type="http://schemas.openxmlformats.org/officeDocument/2006/relationships/image" Target="../media/image42.emf"/><Relationship Id="rId5" Type="http://schemas.openxmlformats.org/officeDocument/2006/relationships/oleObject" Target="../embeddings/oleObject12.bin"/><Relationship Id="rId4" Type="http://schemas.openxmlformats.org/officeDocument/2006/relationships/tags" Target="../tags/tag2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slideLayout" Target="../slideLayouts/slideLayout249.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slideLayout" Target="../slideLayouts/slideLayout244.xml"/><Relationship Id="rId42" Type="http://schemas.openxmlformats.org/officeDocument/2006/relationships/slideLayout" Target="../slideLayouts/slideLayout252.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41" Type="http://schemas.openxmlformats.org/officeDocument/2006/relationships/slideLayout" Target="../slideLayouts/slideLayout251.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heme" Target="../theme/theme16.xml"/><Relationship Id="rId1" Type="http://schemas.openxmlformats.org/officeDocument/2006/relationships/slideLayout" Target="../slideLayouts/slideLayout253.x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tags" Target="../tags/tag27.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254.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255.xml"/></Relationships>
</file>

<file path=ppt/slideMasters/_rels/slideMaster1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heme" Target="../theme/theme19.xml"/><Relationship Id="rId1" Type="http://schemas.openxmlformats.org/officeDocument/2006/relationships/slideLayout" Target="../slideLayouts/slideLayout25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tags" Target="../tags/tag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slideLayout" Target="../slideLayouts/slideLayout269.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image" Target="../media/image54.png"/><Relationship Id="rId2" Type="http://schemas.openxmlformats.org/officeDocument/2006/relationships/slideLayout" Target="../slideLayouts/slideLayout258.xml"/><Relationship Id="rId16" Type="http://schemas.openxmlformats.org/officeDocument/2006/relationships/theme" Target="../theme/theme20.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272.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275.xml"/><Relationship Id="rId2" Type="http://schemas.openxmlformats.org/officeDocument/2006/relationships/slideLayout" Target="../slideLayouts/slideLayout274.xml"/><Relationship Id="rId1" Type="http://schemas.openxmlformats.org/officeDocument/2006/relationships/slideLayout" Target="../slideLayouts/slideLayout273.xml"/><Relationship Id="rId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heme" Target="../theme/theme23.xml"/><Relationship Id="rId1" Type="http://schemas.openxmlformats.org/officeDocument/2006/relationships/slideLayout" Target="../slideLayouts/slideLayout27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tags" Target="../tags/tag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tags" Target="../tags/tag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tags" Target="../tags/tag6.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theme" Target="../theme/theme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image" Target="../media/image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oleObject" Target="../embeddings/oleObject4.bin"/><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tags" Target="../tags/tag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tags" Target="../tags/tag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theme" Target="../theme/theme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tags" Target="../tags/tag11.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tags" Target="../tags/tag10.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slideLayout" Target="../slideLayouts/slideLayout133.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heme" Target="../theme/theme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image" Target="../media/image12.emf"/><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slideLayout" Target="../slideLayouts/slideLayout135.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34" Type="http://schemas.openxmlformats.org/officeDocument/2006/relationships/tags" Target="../tags/tag15.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tags" Target="../tags/tag14.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theme" Target="../theme/theme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image" Target="../media/image12.emf"/><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slideLayout" Target="../slideLayouts/slideLayout166.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oleObject" Target="../embeddings/oleObject7.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4.xml"/><Relationship Id="rId3" Type="http://schemas.openxmlformats.org/officeDocument/2006/relationships/slideLayout" Target="../slideLayouts/slideLayout169.xml"/><Relationship Id="rId7" Type="http://schemas.openxmlformats.org/officeDocument/2006/relationships/slideLayout" Target="../slideLayouts/slideLayout173.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theme" Target="../theme/theme7.xml"/><Relationship Id="rId5" Type="http://schemas.openxmlformats.org/officeDocument/2006/relationships/slideLayout" Target="../slideLayouts/slideLayout171.xml"/><Relationship Id="rId10" Type="http://schemas.openxmlformats.org/officeDocument/2006/relationships/slideLayout" Target="../slideLayouts/slideLayout176.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tags" Target="../tags/tag19.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ags" Target="../tags/tag18.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heme" Target="../theme/theme8.xml"/><Relationship Id="rId5" Type="http://schemas.openxmlformats.org/officeDocument/2006/relationships/slideLayout" Target="../slideLayouts/slideLayout181.xml"/><Relationship Id="rId15" Type="http://schemas.openxmlformats.org/officeDocument/2006/relationships/image" Target="../media/image12.emf"/><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189.xml"/><Relationship Id="rId7" Type="http://schemas.openxmlformats.org/officeDocument/2006/relationships/tags" Target="../tags/tag23.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tags" Target="../tags/tag22.xml"/><Relationship Id="rId5" Type="http://schemas.openxmlformats.org/officeDocument/2006/relationships/theme" Target="../theme/theme9.xml"/><Relationship Id="rId4" Type="http://schemas.openxmlformats.org/officeDocument/2006/relationships/slideLayout" Target="../slideLayouts/slideLayout19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407D58-FD9F-48E4-8405-A5595537768F}"/>
              </a:ext>
            </a:extLst>
          </p:cNvPr>
          <p:cNvGraphicFramePr>
            <a:graphicFrameLocks noChangeAspect="1"/>
          </p:cNvGraphicFramePr>
          <p:nvPr userDrawn="1">
            <p:custDataLst>
              <p:tags r:id="rId34"/>
            </p:custDataLst>
            <p:extLst>
              <p:ext uri="{D42A27DB-BD31-4B8C-83A1-F6EECF244321}">
                <p14:modId xmlns:p14="http://schemas.microsoft.com/office/powerpoint/2010/main" val="167265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32" imgH="530" progId="TCLayout.ActiveDocument.1">
                  <p:embed/>
                </p:oleObj>
              </mc:Choice>
              <mc:Fallback>
                <p:oleObj name="think-cell Slide" r:id="rId36" imgW="532" imgH="530" progId="TCLayout.ActiveDocument.1">
                  <p:embed/>
                  <p:pic>
                    <p:nvPicPr>
                      <p:cNvPr id="7" name="Object 6" hidden="1">
                        <a:extLst>
                          <a:ext uri="{FF2B5EF4-FFF2-40B4-BE49-F238E27FC236}">
                            <a16:creationId xmlns:a16="http://schemas.microsoft.com/office/drawing/2014/main" id="{41407D58-FD9F-48E4-8405-A5595537768F}"/>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89A3D3-52C6-41BF-BC39-12D9F73BBF90}"/>
              </a:ext>
            </a:extLst>
          </p:cNvPr>
          <p:cNvSpPr/>
          <p:nvPr userDrawn="1">
            <p:custDataLst>
              <p:tags r:id="rId35"/>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614FC67E-77CD-4665-A667-7C381E7E947A}"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891216493"/>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4409"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4410" r:id="rId19"/>
    <p:sldLayoutId id="2147483952" r:id="rId20"/>
    <p:sldLayoutId id="2147483953" r:id="rId21"/>
    <p:sldLayoutId id="2147483954" r:id="rId22"/>
    <p:sldLayoutId id="2147483955" r:id="rId23"/>
    <p:sldLayoutId id="2147483956" r:id="rId24"/>
    <p:sldLayoutId id="2147483957" r:id="rId25"/>
    <p:sldLayoutId id="2147483958" r:id="rId26"/>
    <p:sldLayoutId id="2147483959" r:id="rId27"/>
    <p:sldLayoutId id="2147483960" r:id="rId28"/>
    <p:sldLayoutId id="2147483961" r:id="rId29"/>
    <p:sldLayoutId id="2147483962" r:id="rId30"/>
    <p:sldLayoutId id="2147484508" r:id="rId31"/>
    <p:sldLayoutId id="2147484528" r:id="rId32"/>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1B96DA4F-F4AD-495F-9EAA-0916126D982D}"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56"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6FC4EF03-7059-44BB-B244-0400B13B3E1F}"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4408" r:id="rId1"/>
    <p:sldLayoutId id="2147484219" r:id="rId2"/>
    <p:sldLayoutId id="2147484221" r:id="rId3"/>
    <p:sldLayoutId id="2147484475" r:id="rId4"/>
    <p:sldLayoutId id="2147484474" r:id="rId5"/>
    <p:sldLayoutId id="2147484473" r:id="rId6"/>
    <p:sldLayoutId id="2147484472" r:id="rId7"/>
    <p:sldLayoutId id="2147484471" r:id="rId8"/>
    <p:sldLayoutId id="2147484470" r:id="rId9"/>
    <p:sldLayoutId id="2147484469" r:id="rId10"/>
    <p:sldLayoutId id="2147483758" r:id="rId11"/>
    <p:sldLayoutId id="2147484220" r:id="rId12"/>
    <p:sldLayoutId id="2147484382" r:id="rId13"/>
    <p:sldLayoutId id="2147483752" r:id="rId14"/>
    <p:sldLayoutId id="2147483754" r:id="rId15"/>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B4010433-844A-443F-A695-10210F40CAB5}"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180535899"/>
      </p:ext>
    </p:extLst>
  </p:cSld>
  <p:clrMap bg1="lt1" tx1="dk1" bg2="lt2" tx2="dk2" accent1="accent1" accent2="accent2" accent3="accent3" accent4="accent4" accent5="accent5" accent6="accent6" hlink="hlink" folHlink="folHlink"/>
  <p:sldLayoutIdLst>
    <p:sldLayoutId id="2147483736" r:id="rId1"/>
    <p:sldLayoutId id="2147483734" r:id="rId2"/>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17A99450-DD87-427B-B960-7C529DB54496}"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180535899"/>
      </p:ext>
    </p:extLst>
  </p:cSld>
  <p:clrMap bg1="lt1" tx1="dk1" bg2="lt2" tx2="dk2" accent1="accent1" accent2="accent2" accent3="accent3" accent4="accent4" accent5="accent5" accent6="accent6" hlink="hlink" folHlink="folHlink"/>
  <p:sldLayoutIdLst>
    <p:sldLayoutId id="2147484389"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BB7068EC-2777-4018-8B5A-53C9F02BDCC8}"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324870804"/>
      </p:ext>
    </p:extLst>
  </p:cSld>
  <p:clrMap bg1="lt1" tx1="dk1" bg2="lt2" tx2="dk2" accent1="accent1" accent2="accent2" accent3="accent3" accent4="accent4" accent5="accent5" accent6="accent6" hlink="hlink" folHlink="folHlink"/>
  <p:sldLayoutIdLst>
    <p:sldLayoutId id="2147483951"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D3BB9CC-A550-4279-9548-C5DF9EF092EC}"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237250090"/>
      </p:ext>
    </p:extLst>
  </p:cSld>
  <p:clrMap bg1="lt1" tx1="dk1" bg2="lt2" tx2="dk2" accent1="accent1" accent2="accent2" accent3="accent3" accent4="accent4" accent5="accent5" accent6="accent6" hlink="hlink" folHlink="folHlink"/>
  <p:sldLayoutIdLst>
    <p:sldLayoutId id="2147484414" r:id="rId1"/>
    <p:sldLayoutId id="2147484415" r:id="rId2"/>
    <p:sldLayoutId id="2147484416" r:id="rId3"/>
    <p:sldLayoutId id="2147484417" r:id="rId4"/>
    <p:sldLayoutId id="2147484418" r:id="rId5"/>
    <p:sldLayoutId id="2147484419" r:id="rId6"/>
    <p:sldLayoutId id="2147484420" r:id="rId7"/>
    <p:sldLayoutId id="2147484421" r:id="rId8"/>
    <p:sldLayoutId id="2147484422" r:id="rId9"/>
    <p:sldLayoutId id="2147484423" r:id="rId10"/>
    <p:sldLayoutId id="2147484424" r:id="rId11"/>
    <p:sldLayoutId id="2147484425" r:id="rId12"/>
    <p:sldLayoutId id="2147484426" r:id="rId13"/>
    <p:sldLayoutId id="2147484427" r:id="rId14"/>
    <p:sldLayoutId id="2147484428" r:id="rId15"/>
    <p:sldLayoutId id="2147484429" r:id="rId16"/>
    <p:sldLayoutId id="2147484430" r:id="rId17"/>
    <p:sldLayoutId id="2147484431" r:id="rId18"/>
    <p:sldLayoutId id="2147484432" r:id="rId19"/>
    <p:sldLayoutId id="2147484433" r:id="rId20"/>
    <p:sldLayoutId id="2147484434" r:id="rId21"/>
    <p:sldLayoutId id="2147484435" r:id="rId22"/>
    <p:sldLayoutId id="2147484436" r:id="rId23"/>
    <p:sldLayoutId id="2147484437" r:id="rId24"/>
    <p:sldLayoutId id="2147484438" r:id="rId25"/>
    <p:sldLayoutId id="2147484439" r:id="rId26"/>
    <p:sldLayoutId id="2147484440" r:id="rId27"/>
    <p:sldLayoutId id="2147484441" r:id="rId28"/>
    <p:sldLayoutId id="2147484442" r:id="rId29"/>
    <p:sldLayoutId id="2147484443" r:id="rId30"/>
    <p:sldLayoutId id="2147484444" r:id="rId31"/>
    <p:sldLayoutId id="2147484445" r:id="rId32"/>
    <p:sldLayoutId id="2147484446" r:id="rId33"/>
    <p:sldLayoutId id="2147484447" r:id="rId34"/>
    <p:sldLayoutId id="2147484448" r:id="rId35"/>
    <p:sldLayoutId id="2147484449" r:id="rId36"/>
    <p:sldLayoutId id="2147484450" r:id="rId37"/>
    <p:sldLayoutId id="2147484451" r:id="rId38"/>
    <p:sldLayoutId id="2147484452" r:id="rId39"/>
    <p:sldLayoutId id="2147484453" r:id="rId40"/>
    <p:sldLayoutId id="2147484454" r:id="rId41"/>
    <p:sldLayoutId id="2147484455" r:id="rId42"/>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5D190F13-B7B5-44B5-A5CE-F81C55D220BD}"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700176828"/>
      </p:ext>
    </p:extLst>
  </p:cSld>
  <p:clrMap bg1="lt1" tx1="dk1" bg2="lt2" tx2="dk2" accent1="accent1" accent2="accent2" accent3="accent3" accent4="accent4" accent5="accent5" accent6="accent6" hlink="hlink" folHlink="folHlink"/>
  <p:sldLayoutIdLst>
    <p:sldLayoutId id="2147484458"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034DD42B-3713-4255-A571-C87A35AFF9B7}"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4465"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90609FF6-8E95-460B-8078-6B243BC6492F}"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4467"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5FFDB8-9AF9-47A3-96CD-908E23562A1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7" name="Object 6" hidden="1">
                        <a:extLst>
                          <a:ext uri="{FF2B5EF4-FFF2-40B4-BE49-F238E27FC236}">
                            <a16:creationId xmlns:a16="http://schemas.microsoft.com/office/drawing/2014/main" id="{835FFDB8-9AF9-47A3-96CD-908E23562A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F885FA-CCB4-4189-B7E5-CF71D0B0CA71}"/>
              </a:ext>
            </a:extLst>
          </p:cNvPr>
          <p:cNvSpPr/>
          <p:nvPr userDrawn="1">
            <p:custDataLst>
              <p:tags r:id="rId4"/>
            </p:custDataLst>
          </p:nvPr>
        </p:nvSpPr>
        <p:spPr>
          <a:xfrm>
            <a:off x="0" y="0"/>
            <a:ext cx="158750" cy="1587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08955D7E-5963-4741-8171-1712BB295591}"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8000941"/>
      </p:ext>
    </p:extLst>
  </p:cSld>
  <p:clrMap bg1="lt1" tx1="dk1" bg2="lt2" tx2="dk2" accent1="accent1" accent2="accent2" accent3="accent3" accent4="accent4" accent5="accent5" accent6="accent6" hlink="hlink" folHlink="folHlink"/>
  <p:sldLayoutIdLst>
    <p:sldLayoutId id="2147484479"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70AFFC-5467-BA81-4C8C-D65819C4EC9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5C195A3-A1EC-DD0F-94E5-B265BE1A3C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EFD07A-551B-5FF1-FA2B-0A9A2DC310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37A525-E20A-441E-8249-B8EDA6987A94}" type="datetime1">
              <a:rPr lang="en-US" smtClean="0"/>
              <a:t>8/1/2023</a:t>
            </a:fld>
            <a:endParaRPr lang="en-US"/>
          </a:p>
        </p:txBody>
      </p:sp>
      <p:sp>
        <p:nvSpPr>
          <p:cNvPr id="5" name="Footer Placeholder 4">
            <a:extLst>
              <a:ext uri="{FF2B5EF4-FFF2-40B4-BE49-F238E27FC236}">
                <a16:creationId xmlns:a16="http://schemas.microsoft.com/office/drawing/2014/main" id="{CEC1AFF6-BBDD-7DE2-E1BE-CC013842A1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Emergent Bilingual Support Division  |  TEA  2023</a:t>
            </a:r>
          </a:p>
        </p:txBody>
      </p:sp>
      <p:sp>
        <p:nvSpPr>
          <p:cNvPr id="6" name="Slide Number Placeholder 5">
            <a:extLst>
              <a:ext uri="{FF2B5EF4-FFF2-40B4-BE49-F238E27FC236}">
                <a16:creationId xmlns:a16="http://schemas.microsoft.com/office/drawing/2014/main" id="{CCDC20F6-00A8-7026-655A-98DC2DE1A7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71F3B9-D1F2-4999-87C8-8DC22F4A0D39}" type="slidenum">
              <a:rPr lang="en-US" smtClean="0"/>
              <a:t>‹#›</a:t>
            </a:fld>
            <a:endParaRPr lang="en-US"/>
          </a:p>
        </p:txBody>
      </p:sp>
    </p:spTree>
    <p:extLst>
      <p:ext uri="{BB962C8B-B14F-4D97-AF65-F5344CB8AC3E}">
        <p14:creationId xmlns:p14="http://schemas.microsoft.com/office/powerpoint/2010/main" val="2760894918"/>
      </p:ext>
    </p:extLst>
  </p:cSld>
  <p:clrMap bg1="lt1" tx1="dk1" bg2="lt2" tx2="dk2" accent1="accent1" accent2="accent2" accent3="accent3" accent4="accent4" accent5="accent5" accent6="accent6" hlink="hlink" folHlink="folHlink"/>
  <p:sldLayoutIdLst>
    <p:sldLayoutId id="2147484510" r:id="rId1"/>
    <p:sldLayoutId id="2147484511" r:id="rId2"/>
    <p:sldLayoutId id="2147484512" r:id="rId3"/>
    <p:sldLayoutId id="2147484513" r:id="rId4"/>
    <p:sldLayoutId id="2147484514" r:id="rId5"/>
    <p:sldLayoutId id="2147484515" r:id="rId6"/>
    <p:sldLayoutId id="2147484516" r:id="rId7"/>
    <p:sldLayoutId id="2147484517" r:id="rId8"/>
    <p:sldLayoutId id="2147484518" r:id="rId9"/>
    <p:sldLayoutId id="2147484519" r:id="rId10"/>
    <p:sldLayoutId id="2147484520"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ECF4C95D-C1D8-4908-94A3-C5E47AF8CE2E}" type="datetime1">
              <a:rPr lang="en-US" smtClean="0"/>
              <a:t>8/1/2023</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669393451"/>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Lst>
  <p:hf hd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EBA2FE18-2634-4773-87AA-2996ECAC76B4}"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320749783"/>
      </p:ext>
    </p:extLst>
  </p:cSld>
  <p:clrMap bg1="lt1" tx1="dk1" bg2="lt2" tx2="dk2" accent1="accent1" accent2="accent2" accent3="accent3" accent4="accent4" accent5="accent5" accent6="accent6" hlink="hlink" folHlink="folHlink"/>
  <p:sldLayoutIdLst>
    <p:sldLayoutId id="2147483672" r:id="rId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PowerPoint: bit.ly/ELDivMay6th</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30921599"/>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407D58-FD9F-48E4-8405-A5595537768F}"/>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0" progId="TCLayout.ActiveDocument.1">
                  <p:embed/>
                </p:oleObj>
              </mc:Choice>
              <mc:Fallback>
                <p:oleObj name="think-cell Slide" r:id="rId5" imgW="532" imgH="530" progId="TCLayout.ActiveDocument.1">
                  <p:embed/>
                  <p:pic>
                    <p:nvPicPr>
                      <p:cNvPr id="7" name="Object 6" hidden="1">
                        <a:extLst>
                          <a:ext uri="{FF2B5EF4-FFF2-40B4-BE49-F238E27FC236}">
                            <a16:creationId xmlns:a16="http://schemas.microsoft.com/office/drawing/2014/main" id="{41407D58-FD9F-48E4-8405-A559553776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89A3D3-52C6-41BF-BC39-12D9F73BBF90}"/>
              </a:ext>
            </a:extLst>
          </p:cNvPr>
          <p:cNvSpPr/>
          <p:nvPr userDrawn="1">
            <p:custDataLst>
              <p:tags r:id="rId4"/>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PowerPoint: bit.ly/ELDivMay6th</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320956599"/>
      </p:ext>
    </p:extLst>
  </p:cSld>
  <p:clrMap bg1="lt1" tx1="dk1" bg2="lt2" tx2="dk2" accent1="accent1" accent2="accent2" accent3="accent3" accent4="accent4" accent5="accent5" accent6="accent6" hlink="hlink" folHlink="folHlink"/>
  <p:sldLayoutIdLst>
    <p:sldLayoutId id="2147484531" r:id="rId1"/>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35FFDB8-9AF9-47A3-96CD-908E23562A1E}"/>
              </a:ext>
            </a:extLst>
          </p:cNvPr>
          <p:cNvGraphicFramePr>
            <a:graphicFrameLocks noChangeAspect="1"/>
          </p:cNvGraphicFramePr>
          <p:nvPr userDrawn="1">
            <p:custDataLst>
              <p:tags r:id="rId33"/>
            </p:custDataLst>
            <p:extLst>
              <p:ext uri="{D42A27DB-BD31-4B8C-83A1-F6EECF244321}">
                <p14:modId xmlns:p14="http://schemas.microsoft.com/office/powerpoint/2010/main" val="2741654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532" imgH="530" progId="TCLayout.ActiveDocument.1">
                  <p:embed/>
                </p:oleObj>
              </mc:Choice>
              <mc:Fallback>
                <p:oleObj name="think-cell Slide" r:id="rId35" imgW="532" imgH="530" progId="TCLayout.ActiveDocument.1">
                  <p:embed/>
                  <p:pic>
                    <p:nvPicPr>
                      <p:cNvPr id="7" name="Object 6" hidden="1">
                        <a:extLst>
                          <a:ext uri="{FF2B5EF4-FFF2-40B4-BE49-F238E27FC236}">
                            <a16:creationId xmlns:a16="http://schemas.microsoft.com/office/drawing/2014/main" id="{835FFDB8-9AF9-47A3-96CD-908E23562A1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BF885FA-CCB4-4189-B7E5-CF71D0B0CA71}"/>
              </a:ext>
            </a:extLst>
          </p:cNvPr>
          <p:cNvSpPr/>
          <p:nvPr userDrawn="1">
            <p:custDataLst>
              <p:tags r:id="rId34"/>
            </p:custDataLst>
          </p:nvPr>
        </p:nvSpPr>
        <p:spPr>
          <a:xfrm>
            <a:off x="0" y="0"/>
            <a:ext cx="158750" cy="15875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12C80965-C085-4655-A6DA-FCFBB78B8FA5}"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8000941"/>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4411" r:id="rId9"/>
    <p:sldLayoutId id="2147483973" r:id="rId10"/>
    <p:sldLayoutId id="2147483974" r:id="rId11"/>
    <p:sldLayoutId id="2147484477" r:id="rId12"/>
    <p:sldLayoutId id="2147483975" r:id="rId13"/>
    <p:sldLayoutId id="2147483976" r:id="rId14"/>
    <p:sldLayoutId id="2147483977" r:id="rId15"/>
    <p:sldLayoutId id="2147484412" r:id="rId16"/>
    <p:sldLayoutId id="2147483979" r:id="rId17"/>
    <p:sldLayoutId id="2147483980" r:id="rId18"/>
    <p:sldLayoutId id="2147483981" r:id="rId19"/>
    <p:sldLayoutId id="2147483982" r:id="rId20"/>
    <p:sldLayoutId id="2147483983" r:id="rId21"/>
    <p:sldLayoutId id="2147483984" r:id="rId22"/>
    <p:sldLayoutId id="2147483985" r:id="rId23"/>
    <p:sldLayoutId id="2147483986" r:id="rId24"/>
    <p:sldLayoutId id="2147483987" r:id="rId25"/>
    <p:sldLayoutId id="2147483988" r:id="rId26"/>
    <p:sldLayoutId id="2147483989" r:id="rId27"/>
    <p:sldLayoutId id="2147483990" r:id="rId28"/>
    <p:sldLayoutId id="2147483991" r:id="rId29"/>
    <p:sldLayoutId id="2147483992" r:id="rId30"/>
    <p:sldLayoutId id="2147483993" r:id="rId3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1399FAB-2A94-40D0-9A50-053590F69F31}"/>
              </a:ext>
            </a:extLst>
          </p:cNvPr>
          <p:cNvGraphicFramePr>
            <a:graphicFrameLocks noChangeAspect="1"/>
          </p:cNvGraphicFramePr>
          <p:nvPr userDrawn="1">
            <p:custDataLst>
              <p:tags r:id="rId32"/>
            </p:custDataLst>
            <p:extLst>
              <p:ext uri="{D42A27DB-BD31-4B8C-83A1-F6EECF244321}">
                <p14:modId xmlns:p14="http://schemas.microsoft.com/office/powerpoint/2010/main" val="971270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32" imgH="530" progId="TCLayout.ActiveDocument.1">
                  <p:embed/>
                </p:oleObj>
              </mc:Choice>
              <mc:Fallback>
                <p:oleObj name="think-cell Slide" r:id="rId34" imgW="532" imgH="530" progId="TCLayout.ActiveDocument.1">
                  <p:embed/>
                  <p:pic>
                    <p:nvPicPr>
                      <p:cNvPr id="7" name="Object 6" hidden="1">
                        <a:extLst>
                          <a:ext uri="{FF2B5EF4-FFF2-40B4-BE49-F238E27FC236}">
                            <a16:creationId xmlns:a16="http://schemas.microsoft.com/office/drawing/2014/main" id="{E1399FAB-2A94-40D0-9A50-053590F69F31}"/>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80FA87C-88D9-408A-810C-3C4742CC41CA}"/>
              </a:ext>
            </a:extLst>
          </p:cNvPr>
          <p:cNvSpPr/>
          <p:nvPr userDrawn="1">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502BD50C-12E0-45B0-9BA9-FF0E28C062FF}"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286223508"/>
      </p:ext>
    </p:extLst>
  </p:cSld>
  <p:clrMap bg1="lt1" tx1="dk1" bg2="lt2" tx2="dk2" accent1="accent1" accent2="accent2" accent3="accent3" accent4="accent4" accent5="accent5" accent6="accent6" hlink="hlink" folHlink="folHlink"/>
  <p:sldLayoutIdLst>
    <p:sldLayoutId id="2147484363" r:id="rId1"/>
    <p:sldLayoutId id="2147483996" r:id="rId2"/>
    <p:sldLayoutId id="214748436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366" r:id="rId12"/>
    <p:sldLayoutId id="2147484007" r:id="rId13"/>
    <p:sldLayoutId id="2147484008" r:id="rId14"/>
    <p:sldLayoutId id="2147484009" r:id="rId15"/>
    <p:sldLayoutId id="2147484010" r:id="rId16"/>
    <p:sldLayoutId id="2147484011" r:id="rId17"/>
    <p:sldLayoutId id="2147484012" r:id="rId18"/>
    <p:sldLayoutId id="2147484013" r:id="rId19"/>
    <p:sldLayoutId id="2147484014" r:id="rId20"/>
    <p:sldLayoutId id="2147484015" r:id="rId21"/>
    <p:sldLayoutId id="2147484016" r:id="rId22"/>
    <p:sldLayoutId id="2147484017" r:id="rId23"/>
    <p:sldLayoutId id="2147484018" r:id="rId24"/>
    <p:sldLayoutId id="2147484019" r:id="rId25"/>
    <p:sldLayoutId id="2147484020" r:id="rId26"/>
    <p:sldLayoutId id="2147484021" r:id="rId27"/>
    <p:sldLayoutId id="2147484022" r:id="rId28"/>
    <p:sldLayoutId id="2147484023" r:id="rId29"/>
    <p:sldLayoutId id="2147484024" r:id="rId30"/>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3"/>
            </p:custDataLst>
            <p:extLst>
              <p:ext uri="{D42A27DB-BD31-4B8C-83A1-F6EECF244321}">
                <p14:modId xmlns:p14="http://schemas.microsoft.com/office/powerpoint/2010/main" val="1835816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624" imgH="623" progId="TCLayout.ActiveDocument.1">
                  <p:embed/>
                </p:oleObj>
              </mc:Choice>
              <mc:Fallback>
                <p:oleObj name="think-cell Slide" r:id="rId35"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504C003D-85A2-4E0E-B774-D5E1BF9E995B}"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1700176828"/>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33"/>
            </p:custDataLst>
            <p:extLst>
              <p:ext uri="{D42A27DB-BD31-4B8C-83A1-F6EECF244321}">
                <p14:modId xmlns:p14="http://schemas.microsoft.com/office/powerpoint/2010/main" val="3472544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624" imgH="623" progId="TCLayout.ActiveDocument.1">
                  <p:embed/>
                </p:oleObj>
              </mc:Choice>
              <mc:Fallback>
                <p:oleObj name="think-cell Slide" r:id="rId35"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3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8C17E709-4DBE-4DDC-8E55-62F4AA0034F7}"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082153497"/>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7E43A59E-A235-43DB-8DBB-43BB8F650B5F}"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4476" r:id="rId1"/>
    <p:sldLayoutId id="2147484106" r:id="rId2"/>
    <p:sldLayoutId id="2147484132" r:id="rId3"/>
    <p:sldLayoutId id="2147484138" r:id="rId4"/>
    <p:sldLayoutId id="2147484140" r:id="rId5"/>
    <p:sldLayoutId id="2147484377" r:id="rId6"/>
    <p:sldLayoutId id="2147483757" r:id="rId7"/>
    <p:sldLayoutId id="2147483753" r:id="rId8"/>
    <p:sldLayoutId id="2147484378" r:id="rId9"/>
    <p:sldLayoutId id="2147483725" r:id="rId10"/>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4548E22-D837-4F97-93B9-F879FD021DCA}"/>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624" imgH="623" progId="TCLayout.ActiveDocument.1">
                  <p:embed/>
                </p:oleObj>
              </mc:Choice>
              <mc:Fallback>
                <p:oleObj name="think-cell Slide" r:id="rId14" imgW="624" imgH="623" progId="TCLayout.ActiveDocument.1">
                  <p:embed/>
                  <p:pic>
                    <p:nvPicPr>
                      <p:cNvPr id="7" name="Object 6" hidden="1">
                        <a:extLst>
                          <a:ext uri="{FF2B5EF4-FFF2-40B4-BE49-F238E27FC236}">
                            <a16:creationId xmlns:a16="http://schemas.microsoft.com/office/drawing/2014/main" id="{B4548E22-D837-4F97-93B9-F879FD021DC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489C92-158F-4E52-B460-21499F6A6416}"/>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E0F4E076-2239-4F39-8D72-83B13A2A92C0}"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082153497"/>
      </p:ext>
    </p:extLst>
  </p:cSld>
  <p:clrMap bg1="lt1" tx1="dk1" bg2="lt2" tx2="dk2" accent1="accent1" accent2="accent2" accent3="accent3" accent4="accent4" accent5="accent5" accent6="accent6" hlink="hlink" folHlink="folHlink"/>
  <p:sldLayoutIdLst>
    <p:sldLayoutId id="2147484375" r:id="rId1"/>
    <p:sldLayoutId id="2147484385" r:id="rId2"/>
    <p:sldLayoutId id="2147484370" r:id="rId3"/>
    <p:sldLayoutId id="2147484500" r:id="rId4"/>
    <p:sldLayoutId id="2147484501" r:id="rId5"/>
    <p:sldLayoutId id="2147484502" r:id="rId6"/>
    <p:sldLayoutId id="2147484503" r:id="rId7"/>
    <p:sldLayoutId id="2147484504" r:id="rId8"/>
    <p:sldLayoutId id="2147484505" r:id="rId9"/>
    <p:sldLayoutId id="2147484506" r:id="rId10"/>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1407D58-FD9F-48E4-8405-A5595537768F}"/>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32" imgH="530" progId="TCLayout.ActiveDocument.1">
                  <p:embed/>
                </p:oleObj>
              </mc:Choice>
              <mc:Fallback>
                <p:oleObj name="think-cell Slide" r:id="rId8" imgW="532" imgH="530" progId="TCLayout.ActiveDocument.1">
                  <p:embed/>
                  <p:pic>
                    <p:nvPicPr>
                      <p:cNvPr id="7" name="Object 6" hidden="1">
                        <a:extLst>
                          <a:ext uri="{FF2B5EF4-FFF2-40B4-BE49-F238E27FC236}">
                            <a16:creationId xmlns:a16="http://schemas.microsoft.com/office/drawing/2014/main" id="{41407D58-FD9F-48E4-8405-A5595537768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89A3D3-52C6-41BF-BC39-12D9F73BBF90}"/>
              </a:ext>
            </a:extLst>
          </p:cNvPr>
          <p:cNvSpPr/>
          <p:nvPr userDrawn="1">
            <p:custDataLst>
              <p:tags r:id="rId7"/>
            </p:custDataLst>
          </p:nvPr>
        </p:nvSpPr>
        <p:spPr>
          <a:xfrm>
            <a:off x="0" y="0"/>
            <a:ext cx="158750" cy="1587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Emergent Bilingual Support Division  |  TEA  2023</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EF31B2B4-4034-42DB-A2E5-80C53AA96853}" type="datetime1">
              <a:rPr lang="en-US" smtClean="0"/>
              <a:t>8/1/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2891216493"/>
      </p:ext>
    </p:extLst>
  </p:cSld>
  <p:clrMap bg1="lt1" tx1="dk1" bg2="lt2" tx2="dk2" accent1="accent1" accent2="accent2" accent3="accent3" accent4="accent4" accent5="accent5" accent6="accent6" hlink="hlink" folHlink="folHlink"/>
  <p:sldLayoutIdLst>
    <p:sldLayoutId id="2147484480" r:id="rId1"/>
    <p:sldLayoutId id="2147484468" r:id="rId2"/>
    <p:sldLayoutId id="2147484387" r:id="rId3"/>
    <p:sldLayoutId id="2147484372" r:id="rId4"/>
  </p:sldLayoutIdLst>
  <p:hf hd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hyperlink" Target="mailto:EmergentBilingualSupport@tea.texas.gov" TargetMode="External"/><Relationship Id="rId1" Type="http://schemas.openxmlformats.org/officeDocument/2006/relationships/slideLayout" Target="../slideLayouts/slideLayout247.xml"/></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60.png"/><Relationship Id="rId2" Type="http://schemas.microsoft.com/office/2018/10/relationships/comments" Target="../comments/modernComment_7FE4E40F_48DE1B1C.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hyperlink" Target="chrome-extension://efaidnbmnnnibpcajpcglclefindmkaj/https:/tea.texas.gov/sites/default/files/sb-560-emergent%20bilingual-strategic-plan.pdf" TargetMode="External"/><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6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4.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3.svg"/><Relationship Id="rId7" Type="http://schemas.openxmlformats.org/officeDocument/2006/relationships/diagramColors" Target="../diagrams/colors1.xml"/><Relationship Id="rId2" Type="http://schemas.openxmlformats.org/officeDocument/2006/relationships/image" Target="../media/image62.png"/><Relationship Id="rId1" Type="http://schemas.openxmlformats.org/officeDocument/2006/relationships/slideLayout" Target="../slideLayouts/slideLayout276.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hyperlink" Target="https://www.txel.org/LPAC" TargetMode="Externa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75.png"/></Relationships>
</file>

<file path=ppt/slides/_rels/slide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7CA18-B5E7-4D73-A8AF-3444E0331ADF}"/>
              </a:ext>
            </a:extLst>
          </p:cNvPr>
          <p:cNvSpPr>
            <a:spLocks noGrp="1"/>
          </p:cNvSpPr>
          <p:nvPr>
            <p:ph type="ctrTitle"/>
          </p:nvPr>
        </p:nvSpPr>
        <p:spPr>
          <a:xfrm>
            <a:off x="2588690" y="6044144"/>
            <a:ext cx="8091054" cy="1272771"/>
          </a:xfrm>
        </p:spPr>
        <p:txBody>
          <a:bodyPr/>
          <a:lstStyle/>
          <a:p>
            <a:pPr algn="ctr"/>
            <a:r>
              <a:rPr lang="en-US" sz="4000"/>
              <a:t>Serving Emergent Bilingual Students</a:t>
            </a:r>
            <a:br>
              <a:rPr lang="en-US" sz="4000"/>
            </a:br>
            <a:r>
              <a:rPr lang="en-US" sz="2400"/>
              <a:t>August 1, 2023</a:t>
            </a:r>
            <a:br>
              <a:rPr lang="en-US"/>
            </a:br>
            <a:r>
              <a:rPr lang="en-US" sz="2400"/>
              <a:t>Division of Emergent Bilingual Support </a:t>
            </a:r>
            <a:br>
              <a:rPr lang="en-US" sz="3200"/>
            </a:br>
            <a:endParaRPr lang="en-US" sz="3200"/>
          </a:p>
        </p:txBody>
      </p:sp>
    </p:spTree>
    <p:extLst>
      <p:ext uri="{BB962C8B-B14F-4D97-AF65-F5344CB8AC3E}">
        <p14:creationId xmlns:p14="http://schemas.microsoft.com/office/powerpoint/2010/main" val="367918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48926-E460-1A46-B5FE-E6640322AF69}"/>
              </a:ext>
            </a:extLst>
          </p:cNvPr>
          <p:cNvSpPr>
            <a:spLocks noGrp="1"/>
          </p:cNvSpPr>
          <p:nvPr>
            <p:ph type="title"/>
          </p:nvPr>
        </p:nvSpPr>
        <p:spPr>
          <a:xfrm>
            <a:off x="712380" y="153230"/>
            <a:ext cx="11121657" cy="751350"/>
          </a:xfrm>
        </p:spPr>
        <p:txBody>
          <a:bodyPr anchor="ctr">
            <a:normAutofit/>
          </a:bodyPr>
          <a:lstStyle/>
          <a:p>
            <a:r>
              <a:rPr lang="en-US" sz="2300"/>
              <a:t>Program Services and PEIMS Coding</a:t>
            </a:r>
            <a:br>
              <a:rPr lang="en-US" sz="2300"/>
            </a:br>
            <a:r>
              <a:rPr lang="en-US" sz="2300" b="0" i="1"/>
              <a:t>Increasing Awareness Campaign </a:t>
            </a:r>
            <a:endParaRPr lang="en-US" sz="2300"/>
          </a:p>
        </p:txBody>
      </p:sp>
      <p:sp>
        <p:nvSpPr>
          <p:cNvPr id="3" name="Content Placeholder 2">
            <a:extLst>
              <a:ext uri="{FF2B5EF4-FFF2-40B4-BE49-F238E27FC236}">
                <a16:creationId xmlns:a16="http://schemas.microsoft.com/office/drawing/2014/main" id="{CE71EDBD-5CAF-36E5-5406-C7E1D3A9F874}"/>
              </a:ext>
            </a:extLst>
          </p:cNvPr>
          <p:cNvSpPr>
            <a:spLocks noGrp="1"/>
          </p:cNvSpPr>
          <p:nvPr>
            <p:ph idx="1"/>
          </p:nvPr>
        </p:nvSpPr>
        <p:spPr>
          <a:xfrm>
            <a:off x="712380" y="1285424"/>
            <a:ext cx="5383620" cy="4351338"/>
          </a:xfrm>
        </p:spPr>
        <p:txBody>
          <a:bodyPr>
            <a:normAutofit/>
          </a:bodyPr>
          <a:lstStyle/>
          <a:p>
            <a:r>
              <a:rPr lang="en-US" sz="2000"/>
              <a:t>Program Participation Code </a:t>
            </a:r>
          </a:p>
          <a:p>
            <a:pPr lvl="1"/>
            <a:r>
              <a:rPr lang="en-US" sz="2000"/>
              <a:t>Represents program model parents' consent </a:t>
            </a:r>
          </a:p>
          <a:p>
            <a:pPr lvl="1"/>
            <a:r>
              <a:rPr lang="en-US" sz="2000"/>
              <a:t>Code when EB students are served by a teacher on a bilingual exception or ESL waiver </a:t>
            </a:r>
          </a:p>
          <a:p>
            <a:pPr lvl="1"/>
            <a:r>
              <a:rPr lang="en-US" sz="2000"/>
              <a:t>Change of program models </a:t>
            </a:r>
          </a:p>
          <a:p>
            <a:pPr lvl="2"/>
            <a:r>
              <a:rPr lang="en-US"/>
              <a:t>Date will reflect the date parents acknowledged the change in program </a:t>
            </a:r>
          </a:p>
          <a:p>
            <a:pPr lvl="1"/>
            <a:r>
              <a:rPr lang="en-US" sz="2000"/>
              <a:t>Reclassification for EB Students</a:t>
            </a:r>
          </a:p>
          <a:p>
            <a:pPr lvl="2"/>
            <a:r>
              <a:rPr lang="en-US"/>
              <a:t>Monitoring for the first 2 years </a:t>
            </a:r>
          </a:p>
          <a:p>
            <a:pPr lvl="2"/>
            <a:r>
              <a:rPr lang="en-US"/>
              <a:t>3</a:t>
            </a:r>
            <a:r>
              <a:rPr lang="en-US" baseline="30000"/>
              <a:t>rd</a:t>
            </a:r>
            <a:r>
              <a:rPr lang="en-US"/>
              <a:t> and 4</a:t>
            </a:r>
            <a:r>
              <a:rPr lang="en-US" baseline="30000"/>
              <a:t>th</a:t>
            </a:r>
            <a:r>
              <a:rPr lang="en-US"/>
              <a:t> year after reclassification </a:t>
            </a:r>
          </a:p>
          <a:p>
            <a:pPr lvl="2"/>
            <a:r>
              <a:rPr lang="en-US"/>
              <a:t>Former EB student </a:t>
            </a:r>
          </a:p>
          <a:p>
            <a:pPr marL="914400" lvl="2" indent="0"/>
            <a:endParaRPr lang="en-US"/>
          </a:p>
        </p:txBody>
      </p:sp>
      <p:sp>
        <p:nvSpPr>
          <p:cNvPr id="5" name="Footer Placeholder 4">
            <a:extLst>
              <a:ext uri="{FF2B5EF4-FFF2-40B4-BE49-F238E27FC236}">
                <a16:creationId xmlns:a16="http://schemas.microsoft.com/office/drawing/2014/main" id="{369E60D2-FBB2-627A-69A1-7F9924DFD215}"/>
              </a:ext>
            </a:extLst>
          </p:cNvPr>
          <p:cNvSpPr>
            <a:spLocks noGrp="1"/>
          </p:cNvSpPr>
          <p:nvPr>
            <p:ph type="ftr" sz="quarter" idx="3"/>
          </p:nvPr>
        </p:nvSpPr>
        <p:spPr>
          <a:xfrm>
            <a:off x="4038600" y="6544338"/>
            <a:ext cx="4114800" cy="365125"/>
          </a:xfrm>
        </p:spPr>
        <p:txBody>
          <a:bodyPr anchor="ctr">
            <a:normAutofit/>
          </a:bodyPr>
          <a:lstStyle/>
          <a:p>
            <a:pPr>
              <a:spcAft>
                <a:spcPts val="600"/>
              </a:spcAft>
            </a:pPr>
            <a:r>
              <a:rPr lang="en-US"/>
              <a:t>Emergent Bilingual Support Division  |  TEA  2023</a:t>
            </a:r>
          </a:p>
        </p:txBody>
      </p:sp>
      <p:sp>
        <p:nvSpPr>
          <p:cNvPr id="6" name="Slide Number Placeholder 5">
            <a:extLst>
              <a:ext uri="{FF2B5EF4-FFF2-40B4-BE49-F238E27FC236}">
                <a16:creationId xmlns:a16="http://schemas.microsoft.com/office/drawing/2014/main" id="{B7BCDCD2-63FC-45D0-53B9-179C60DD4877}"/>
              </a:ext>
            </a:extLst>
          </p:cNvPr>
          <p:cNvSpPr>
            <a:spLocks noGrp="1"/>
          </p:cNvSpPr>
          <p:nvPr>
            <p:ph type="sldNum" sz="quarter" idx="4"/>
          </p:nvPr>
        </p:nvSpPr>
        <p:spPr>
          <a:xfrm>
            <a:off x="9210675" y="6529126"/>
            <a:ext cx="2743200" cy="365125"/>
          </a:xfrm>
        </p:spPr>
        <p:txBody>
          <a:bodyPr anchor="ctr">
            <a:normAutofit/>
          </a:bodyPr>
          <a:lstStyle/>
          <a:p>
            <a:pPr>
              <a:spcAft>
                <a:spcPts val="600"/>
              </a:spcAft>
            </a:pPr>
            <a:fld id="{69C126A4-BD19-47E2-8A0E-0DE1B9D8C925}" type="slidenum">
              <a:rPr lang="en-US" smtClean="0"/>
              <a:pPr>
                <a:spcAft>
                  <a:spcPts val="600"/>
                </a:spcAft>
              </a:pPr>
              <a:t>10</a:t>
            </a:fld>
            <a:endParaRPr lang="en-US"/>
          </a:p>
        </p:txBody>
      </p:sp>
      <p:grpSp>
        <p:nvGrpSpPr>
          <p:cNvPr id="20" name="Group 19">
            <a:extLst>
              <a:ext uri="{FF2B5EF4-FFF2-40B4-BE49-F238E27FC236}">
                <a16:creationId xmlns:a16="http://schemas.microsoft.com/office/drawing/2014/main" id="{6AC3E269-1631-1FC7-D26C-39DE5CDDC99E}"/>
              </a:ext>
            </a:extLst>
          </p:cNvPr>
          <p:cNvGrpSpPr/>
          <p:nvPr/>
        </p:nvGrpSpPr>
        <p:grpSpPr>
          <a:xfrm>
            <a:off x="7199989" y="1757907"/>
            <a:ext cx="3845947" cy="3490134"/>
            <a:chOff x="7199989" y="1757907"/>
            <a:chExt cx="3845947" cy="3490134"/>
          </a:xfrm>
        </p:grpSpPr>
        <p:sp>
          <p:nvSpPr>
            <p:cNvPr id="10" name="Freeform: Shape 9">
              <a:extLst>
                <a:ext uri="{FF2B5EF4-FFF2-40B4-BE49-F238E27FC236}">
                  <a16:creationId xmlns:a16="http://schemas.microsoft.com/office/drawing/2014/main" id="{61D0FA76-4BF5-21CC-D66A-CDF4515F2C20}"/>
                </a:ext>
              </a:extLst>
            </p:cNvPr>
            <p:cNvSpPr/>
            <p:nvPr/>
          </p:nvSpPr>
          <p:spPr>
            <a:xfrm>
              <a:off x="8622332" y="4187403"/>
              <a:ext cx="411564" cy="411564"/>
            </a:xfrm>
            <a:custGeom>
              <a:avLst/>
              <a:gdLst>
                <a:gd name="connsiteX0" fmla="*/ 411564 w 411564"/>
                <a:gd name="connsiteY0" fmla="*/ 205782 h 411564"/>
                <a:gd name="connsiteX1" fmla="*/ 205782 w 411564"/>
                <a:gd name="connsiteY1" fmla="*/ 411564 h 411564"/>
                <a:gd name="connsiteX2" fmla="*/ 0 w 411564"/>
                <a:gd name="connsiteY2" fmla="*/ 205782 h 411564"/>
                <a:gd name="connsiteX3" fmla="*/ 205782 w 411564"/>
                <a:gd name="connsiteY3" fmla="*/ 0 h 411564"/>
                <a:gd name="connsiteX4" fmla="*/ 411564 w 411564"/>
                <a:gd name="connsiteY4" fmla="*/ 205782 h 411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564" h="411564">
                  <a:moveTo>
                    <a:pt x="411564" y="205782"/>
                  </a:moveTo>
                  <a:cubicBezTo>
                    <a:pt x="411564" y="319432"/>
                    <a:pt x="319432" y="411564"/>
                    <a:pt x="205782" y="411564"/>
                  </a:cubicBezTo>
                  <a:cubicBezTo>
                    <a:pt x="92132" y="411564"/>
                    <a:pt x="0" y="319432"/>
                    <a:pt x="0" y="205782"/>
                  </a:cubicBezTo>
                  <a:cubicBezTo>
                    <a:pt x="0" y="92132"/>
                    <a:pt x="92132" y="0"/>
                    <a:pt x="205782" y="0"/>
                  </a:cubicBezTo>
                  <a:cubicBezTo>
                    <a:pt x="319432" y="0"/>
                    <a:pt x="411564" y="92132"/>
                    <a:pt x="411564" y="205782"/>
                  </a:cubicBezTo>
                  <a:close/>
                </a:path>
              </a:pathLst>
            </a:custGeom>
            <a:solidFill>
              <a:schemeClr val="accent6">
                <a:lumMod val="75000"/>
              </a:schemeClr>
            </a:solidFill>
            <a:ln w="4524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D3BCF795-6FE2-CA30-BE82-7A742E2239AB}"/>
                </a:ext>
              </a:extLst>
            </p:cNvPr>
            <p:cNvSpPr/>
            <p:nvPr/>
          </p:nvSpPr>
          <p:spPr>
            <a:xfrm>
              <a:off x="8417004" y="4655625"/>
              <a:ext cx="815875" cy="411110"/>
            </a:xfrm>
            <a:custGeom>
              <a:avLst/>
              <a:gdLst>
                <a:gd name="connsiteX0" fmla="*/ 815876 w 815875"/>
                <a:gd name="connsiteY0" fmla="*/ 411111 h 411110"/>
                <a:gd name="connsiteX1" fmla="*/ 815876 w 815875"/>
                <a:gd name="connsiteY1" fmla="*/ 205329 h 411110"/>
                <a:gd name="connsiteX2" fmla="*/ 775082 w 815875"/>
                <a:gd name="connsiteY2" fmla="*/ 123288 h 411110"/>
                <a:gd name="connsiteX3" fmla="*/ 576099 w 815875"/>
                <a:gd name="connsiteY3" fmla="*/ 25383 h 411110"/>
                <a:gd name="connsiteX4" fmla="*/ 407938 w 815875"/>
                <a:gd name="connsiteY4" fmla="*/ 0 h 411110"/>
                <a:gd name="connsiteX5" fmla="*/ 239777 w 815875"/>
                <a:gd name="connsiteY5" fmla="*/ 25383 h 411110"/>
                <a:gd name="connsiteX6" fmla="*/ 40794 w 815875"/>
                <a:gd name="connsiteY6" fmla="*/ 123288 h 411110"/>
                <a:gd name="connsiteX7" fmla="*/ 0 w 815875"/>
                <a:gd name="connsiteY7" fmla="*/ 205329 h 411110"/>
                <a:gd name="connsiteX8" fmla="*/ 0 w 815875"/>
                <a:gd name="connsiteY8" fmla="*/ 411111 h 411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875" h="411110">
                  <a:moveTo>
                    <a:pt x="815876" y="411111"/>
                  </a:moveTo>
                  <a:lnTo>
                    <a:pt x="815876" y="205329"/>
                  </a:lnTo>
                  <a:cubicBezTo>
                    <a:pt x="815205" y="173265"/>
                    <a:pt x="800247" y="143173"/>
                    <a:pt x="775082" y="123288"/>
                  </a:cubicBezTo>
                  <a:cubicBezTo>
                    <a:pt x="715949" y="77708"/>
                    <a:pt x="648290" y="44420"/>
                    <a:pt x="576099" y="25383"/>
                  </a:cubicBezTo>
                  <a:cubicBezTo>
                    <a:pt x="521608" y="8657"/>
                    <a:pt x="464936" y="100"/>
                    <a:pt x="407938" y="0"/>
                  </a:cubicBezTo>
                  <a:cubicBezTo>
                    <a:pt x="350999" y="879"/>
                    <a:pt x="294436" y="9414"/>
                    <a:pt x="239777" y="25383"/>
                  </a:cubicBezTo>
                  <a:cubicBezTo>
                    <a:pt x="168388" y="46518"/>
                    <a:pt x="101101" y="79625"/>
                    <a:pt x="40794" y="123288"/>
                  </a:cubicBezTo>
                  <a:cubicBezTo>
                    <a:pt x="15629" y="143173"/>
                    <a:pt x="671" y="173265"/>
                    <a:pt x="0" y="205329"/>
                  </a:cubicBezTo>
                  <a:lnTo>
                    <a:pt x="0" y="411111"/>
                  </a:lnTo>
                  <a:close/>
                </a:path>
              </a:pathLst>
            </a:custGeom>
            <a:solidFill>
              <a:schemeClr val="accent6">
                <a:lumMod val="75000"/>
              </a:schemeClr>
            </a:solidFill>
            <a:ln w="4524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A487C8C0-1182-DC04-CEC6-4E299D34F045}"/>
                </a:ext>
              </a:extLst>
            </p:cNvPr>
            <p:cNvSpPr/>
            <p:nvPr/>
          </p:nvSpPr>
          <p:spPr>
            <a:xfrm>
              <a:off x="9522515" y="4187403"/>
              <a:ext cx="411564" cy="411564"/>
            </a:xfrm>
            <a:custGeom>
              <a:avLst/>
              <a:gdLst>
                <a:gd name="connsiteX0" fmla="*/ 411564 w 411564"/>
                <a:gd name="connsiteY0" fmla="*/ 205782 h 411564"/>
                <a:gd name="connsiteX1" fmla="*/ 205782 w 411564"/>
                <a:gd name="connsiteY1" fmla="*/ 411564 h 411564"/>
                <a:gd name="connsiteX2" fmla="*/ 0 w 411564"/>
                <a:gd name="connsiteY2" fmla="*/ 205782 h 411564"/>
                <a:gd name="connsiteX3" fmla="*/ 205782 w 411564"/>
                <a:gd name="connsiteY3" fmla="*/ 0 h 411564"/>
                <a:gd name="connsiteX4" fmla="*/ 411564 w 411564"/>
                <a:gd name="connsiteY4" fmla="*/ 205782 h 411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564" h="411564">
                  <a:moveTo>
                    <a:pt x="411564" y="205782"/>
                  </a:moveTo>
                  <a:cubicBezTo>
                    <a:pt x="411564" y="319432"/>
                    <a:pt x="319432" y="411564"/>
                    <a:pt x="205782" y="411564"/>
                  </a:cubicBezTo>
                  <a:cubicBezTo>
                    <a:pt x="92132" y="411564"/>
                    <a:pt x="0" y="319432"/>
                    <a:pt x="0" y="205782"/>
                  </a:cubicBezTo>
                  <a:cubicBezTo>
                    <a:pt x="0" y="92132"/>
                    <a:pt x="92132" y="0"/>
                    <a:pt x="205782" y="0"/>
                  </a:cubicBezTo>
                  <a:cubicBezTo>
                    <a:pt x="319432" y="0"/>
                    <a:pt x="411564" y="92132"/>
                    <a:pt x="411564" y="205782"/>
                  </a:cubicBezTo>
                  <a:close/>
                </a:path>
              </a:pathLst>
            </a:custGeom>
            <a:solidFill>
              <a:srgbClr val="018583"/>
            </a:solidFill>
            <a:ln w="4524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9D0AB71E-743F-2EF6-A8D8-B8B84134B1A8}"/>
                </a:ext>
              </a:extLst>
            </p:cNvPr>
            <p:cNvSpPr/>
            <p:nvPr/>
          </p:nvSpPr>
          <p:spPr>
            <a:xfrm>
              <a:off x="9323532" y="4655625"/>
              <a:ext cx="815875" cy="411110"/>
            </a:xfrm>
            <a:custGeom>
              <a:avLst/>
              <a:gdLst>
                <a:gd name="connsiteX0" fmla="*/ 815876 w 815875"/>
                <a:gd name="connsiteY0" fmla="*/ 411111 h 411110"/>
                <a:gd name="connsiteX1" fmla="*/ 815876 w 815875"/>
                <a:gd name="connsiteY1" fmla="*/ 205329 h 411110"/>
                <a:gd name="connsiteX2" fmla="*/ 775082 w 815875"/>
                <a:gd name="connsiteY2" fmla="*/ 123288 h 411110"/>
                <a:gd name="connsiteX3" fmla="*/ 576099 w 815875"/>
                <a:gd name="connsiteY3" fmla="*/ 25383 h 411110"/>
                <a:gd name="connsiteX4" fmla="*/ 407938 w 815875"/>
                <a:gd name="connsiteY4" fmla="*/ 0 h 411110"/>
                <a:gd name="connsiteX5" fmla="*/ 239777 w 815875"/>
                <a:gd name="connsiteY5" fmla="*/ 25383 h 411110"/>
                <a:gd name="connsiteX6" fmla="*/ 40794 w 815875"/>
                <a:gd name="connsiteY6" fmla="*/ 123288 h 411110"/>
                <a:gd name="connsiteX7" fmla="*/ 0 w 815875"/>
                <a:gd name="connsiteY7" fmla="*/ 205329 h 411110"/>
                <a:gd name="connsiteX8" fmla="*/ 0 w 815875"/>
                <a:gd name="connsiteY8" fmla="*/ 411111 h 411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875" h="411110">
                  <a:moveTo>
                    <a:pt x="815876" y="411111"/>
                  </a:moveTo>
                  <a:lnTo>
                    <a:pt x="815876" y="205329"/>
                  </a:lnTo>
                  <a:cubicBezTo>
                    <a:pt x="815205" y="173265"/>
                    <a:pt x="800247" y="143173"/>
                    <a:pt x="775082" y="123288"/>
                  </a:cubicBezTo>
                  <a:cubicBezTo>
                    <a:pt x="715949" y="77708"/>
                    <a:pt x="648290" y="44420"/>
                    <a:pt x="576099" y="25383"/>
                  </a:cubicBezTo>
                  <a:cubicBezTo>
                    <a:pt x="521608" y="8657"/>
                    <a:pt x="464936" y="100"/>
                    <a:pt x="407938" y="0"/>
                  </a:cubicBezTo>
                  <a:cubicBezTo>
                    <a:pt x="350999" y="879"/>
                    <a:pt x="294436" y="9414"/>
                    <a:pt x="239777" y="25383"/>
                  </a:cubicBezTo>
                  <a:cubicBezTo>
                    <a:pt x="168388" y="46518"/>
                    <a:pt x="101101" y="79625"/>
                    <a:pt x="40794" y="123288"/>
                  </a:cubicBezTo>
                  <a:cubicBezTo>
                    <a:pt x="15629" y="143173"/>
                    <a:pt x="671" y="173265"/>
                    <a:pt x="0" y="205329"/>
                  </a:cubicBezTo>
                  <a:lnTo>
                    <a:pt x="0" y="411111"/>
                  </a:lnTo>
                  <a:close/>
                </a:path>
              </a:pathLst>
            </a:custGeom>
            <a:solidFill>
              <a:srgbClr val="018583"/>
            </a:solidFill>
            <a:ln w="4524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787302D-4D9D-F02D-CD60-FAB6E2B2FC48}"/>
                </a:ext>
              </a:extLst>
            </p:cNvPr>
            <p:cNvSpPr/>
            <p:nvPr/>
          </p:nvSpPr>
          <p:spPr>
            <a:xfrm>
              <a:off x="10429044" y="4187403"/>
              <a:ext cx="411564" cy="411564"/>
            </a:xfrm>
            <a:custGeom>
              <a:avLst/>
              <a:gdLst>
                <a:gd name="connsiteX0" fmla="*/ 411564 w 411564"/>
                <a:gd name="connsiteY0" fmla="*/ 205782 h 411564"/>
                <a:gd name="connsiteX1" fmla="*/ 205782 w 411564"/>
                <a:gd name="connsiteY1" fmla="*/ 411564 h 411564"/>
                <a:gd name="connsiteX2" fmla="*/ 0 w 411564"/>
                <a:gd name="connsiteY2" fmla="*/ 205782 h 411564"/>
                <a:gd name="connsiteX3" fmla="*/ 205782 w 411564"/>
                <a:gd name="connsiteY3" fmla="*/ 0 h 411564"/>
                <a:gd name="connsiteX4" fmla="*/ 411564 w 411564"/>
                <a:gd name="connsiteY4" fmla="*/ 205782 h 4115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564" h="411564">
                  <a:moveTo>
                    <a:pt x="411564" y="205782"/>
                  </a:moveTo>
                  <a:cubicBezTo>
                    <a:pt x="411564" y="319432"/>
                    <a:pt x="319432" y="411564"/>
                    <a:pt x="205782" y="411564"/>
                  </a:cubicBezTo>
                  <a:cubicBezTo>
                    <a:pt x="92132" y="411564"/>
                    <a:pt x="0" y="319432"/>
                    <a:pt x="0" y="205782"/>
                  </a:cubicBezTo>
                  <a:cubicBezTo>
                    <a:pt x="0" y="92132"/>
                    <a:pt x="92132" y="0"/>
                    <a:pt x="205782" y="0"/>
                  </a:cubicBezTo>
                  <a:cubicBezTo>
                    <a:pt x="319432" y="0"/>
                    <a:pt x="411564" y="92132"/>
                    <a:pt x="411564" y="205782"/>
                  </a:cubicBezTo>
                  <a:close/>
                </a:path>
              </a:pathLst>
            </a:custGeom>
            <a:solidFill>
              <a:srgbClr val="04761A"/>
            </a:solidFill>
            <a:ln w="4524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3322F090-49A5-C035-2A30-1EAF0DCAEAA8}"/>
                </a:ext>
              </a:extLst>
            </p:cNvPr>
            <p:cNvSpPr/>
            <p:nvPr/>
          </p:nvSpPr>
          <p:spPr>
            <a:xfrm>
              <a:off x="10230061" y="4655625"/>
              <a:ext cx="815875" cy="411110"/>
            </a:xfrm>
            <a:custGeom>
              <a:avLst/>
              <a:gdLst>
                <a:gd name="connsiteX0" fmla="*/ 815876 w 815875"/>
                <a:gd name="connsiteY0" fmla="*/ 411111 h 411110"/>
                <a:gd name="connsiteX1" fmla="*/ 815876 w 815875"/>
                <a:gd name="connsiteY1" fmla="*/ 205329 h 411110"/>
                <a:gd name="connsiteX2" fmla="*/ 775082 w 815875"/>
                <a:gd name="connsiteY2" fmla="*/ 123288 h 411110"/>
                <a:gd name="connsiteX3" fmla="*/ 576099 w 815875"/>
                <a:gd name="connsiteY3" fmla="*/ 25383 h 411110"/>
                <a:gd name="connsiteX4" fmla="*/ 407938 w 815875"/>
                <a:gd name="connsiteY4" fmla="*/ 0 h 411110"/>
                <a:gd name="connsiteX5" fmla="*/ 239777 w 815875"/>
                <a:gd name="connsiteY5" fmla="*/ 25383 h 411110"/>
                <a:gd name="connsiteX6" fmla="*/ 40794 w 815875"/>
                <a:gd name="connsiteY6" fmla="*/ 123288 h 411110"/>
                <a:gd name="connsiteX7" fmla="*/ 0 w 815875"/>
                <a:gd name="connsiteY7" fmla="*/ 205329 h 411110"/>
                <a:gd name="connsiteX8" fmla="*/ 0 w 815875"/>
                <a:gd name="connsiteY8" fmla="*/ 411111 h 411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875" h="411110">
                  <a:moveTo>
                    <a:pt x="815876" y="411111"/>
                  </a:moveTo>
                  <a:lnTo>
                    <a:pt x="815876" y="205329"/>
                  </a:lnTo>
                  <a:cubicBezTo>
                    <a:pt x="815205" y="173265"/>
                    <a:pt x="800247" y="143173"/>
                    <a:pt x="775082" y="123288"/>
                  </a:cubicBezTo>
                  <a:cubicBezTo>
                    <a:pt x="715949" y="77708"/>
                    <a:pt x="648290" y="44420"/>
                    <a:pt x="576099" y="25383"/>
                  </a:cubicBezTo>
                  <a:cubicBezTo>
                    <a:pt x="521607" y="8657"/>
                    <a:pt x="464936" y="100"/>
                    <a:pt x="407938" y="0"/>
                  </a:cubicBezTo>
                  <a:cubicBezTo>
                    <a:pt x="350999" y="879"/>
                    <a:pt x="294436" y="9414"/>
                    <a:pt x="239777" y="25383"/>
                  </a:cubicBezTo>
                  <a:cubicBezTo>
                    <a:pt x="168388" y="46518"/>
                    <a:pt x="101101" y="79625"/>
                    <a:pt x="40794" y="123288"/>
                  </a:cubicBezTo>
                  <a:cubicBezTo>
                    <a:pt x="15629" y="143173"/>
                    <a:pt x="671" y="173265"/>
                    <a:pt x="0" y="205329"/>
                  </a:cubicBezTo>
                  <a:lnTo>
                    <a:pt x="0" y="411111"/>
                  </a:lnTo>
                  <a:close/>
                </a:path>
              </a:pathLst>
            </a:custGeom>
            <a:solidFill>
              <a:srgbClr val="04761A"/>
            </a:solidFill>
            <a:ln w="4524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FA9AA87D-8A51-88FC-C068-AB40A38CF665}"/>
                </a:ext>
              </a:extLst>
            </p:cNvPr>
            <p:cNvSpPr/>
            <p:nvPr/>
          </p:nvSpPr>
          <p:spPr>
            <a:xfrm>
              <a:off x="7670930" y="2221142"/>
              <a:ext cx="538478" cy="538478"/>
            </a:xfrm>
            <a:custGeom>
              <a:avLst/>
              <a:gdLst>
                <a:gd name="connsiteX0" fmla="*/ 538478 w 538478"/>
                <a:gd name="connsiteY0" fmla="*/ 269239 h 538478"/>
                <a:gd name="connsiteX1" fmla="*/ 269239 w 538478"/>
                <a:gd name="connsiteY1" fmla="*/ 538478 h 538478"/>
                <a:gd name="connsiteX2" fmla="*/ 0 w 538478"/>
                <a:gd name="connsiteY2" fmla="*/ 269239 h 538478"/>
                <a:gd name="connsiteX3" fmla="*/ 269239 w 538478"/>
                <a:gd name="connsiteY3" fmla="*/ 0 h 538478"/>
                <a:gd name="connsiteX4" fmla="*/ 538478 w 538478"/>
                <a:gd name="connsiteY4" fmla="*/ 269239 h 53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8478" h="538478">
                  <a:moveTo>
                    <a:pt x="538478" y="269239"/>
                  </a:moveTo>
                  <a:cubicBezTo>
                    <a:pt x="538478" y="417936"/>
                    <a:pt x="417936" y="538478"/>
                    <a:pt x="269239" y="538478"/>
                  </a:cubicBezTo>
                  <a:cubicBezTo>
                    <a:pt x="120542" y="538478"/>
                    <a:pt x="0" y="417936"/>
                    <a:pt x="0" y="269239"/>
                  </a:cubicBezTo>
                  <a:cubicBezTo>
                    <a:pt x="0" y="120542"/>
                    <a:pt x="120542" y="0"/>
                    <a:pt x="269239" y="0"/>
                  </a:cubicBezTo>
                  <a:cubicBezTo>
                    <a:pt x="417936" y="0"/>
                    <a:pt x="538478" y="120542"/>
                    <a:pt x="538478" y="269239"/>
                  </a:cubicBezTo>
                  <a:close/>
                </a:path>
              </a:pathLst>
            </a:custGeom>
            <a:solidFill>
              <a:schemeClr val="accent2"/>
            </a:solidFill>
            <a:ln w="45244"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109D5C66-7A8B-7463-C5AF-D7ADC1832CF1}"/>
                </a:ext>
              </a:extLst>
            </p:cNvPr>
            <p:cNvSpPr/>
            <p:nvPr/>
          </p:nvSpPr>
          <p:spPr>
            <a:xfrm>
              <a:off x="7199989" y="2366884"/>
              <a:ext cx="2347662" cy="2881157"/>
            </a:xfrm>
            <a:custGeom>
              <a:avLst/>
              <a:gdLst>
                <a:gd name="connsiteX0" fmla="*/ 2327966 w 2347662"/>
                <a:gd name="connsiteY0" fmla="*/ 19700 h 2881157"/>
                <a:gd name="connsiteX1" fmla="*/ 2231874 w 2347662"/>
                <a:gd name="connsiteY1" fmla="*/ 19700 h 2881157"/>
                <a:gd name="connsiteX2" fmla="*/ 1646256 w 2347662"/>
                <a:gd name="connsiteY2" fmla="*/ 605318 h 2881157"/>
                <a:gd name="connsiteX3" fmla="*/ 1514356 w 2347662"/>
                <a:gd name="connsiteY3" fmla="*/ 638859 h 2881157"/>
                <a:gd name="connsiteX4" fmla="*/ 1335770 w 2347662"/>
                <a:gd name="connsiteY4" fmla="*/ 924869 h 2881157"/>
                <a:gd name="connsiteX5" fmla="*/ 1285005 w 2347662"/>
                <a:gd name="connsiteY5" fmla="*/ 708662 h 2881157"/>
                <a:gd name="connsiteX6" fmla="*/ 1244664 w 2347662"/>
                <a:gd name="connsiteY6" fmla="*/ 634327 h 2881157"/>
                <a:gd name="connsiteX7" fmla="*/ 961827 w 2347662"/>
                <a:gd name="connsiteY7" fmla="*/ 486562 h 2881157"/>
                <a:gd name="connsiteX8" fmla="*/ 740181 w 2347662"/>
                <a:gd name="connsiteY8" fmla="*/ 459820 h 2881157"/>
                <a:gd name="connsiteX9" fmla="*/ 518081 w 2347662"/>
                <a:gd name="connsiteY9" fmla="*/ 493361 h 2881157"/>
                <a:gd name="connsiteX10" fmla="*/ 235697 w 2347662"/>
                <a:gd name="connsiteY10" fmla="*/ 641126 h 2881157"/>
                <a:gd name="connsiteX11" fmla="*/ 195357 w 2347662"/>
                <a:gd name="connsiteY11" fmla="*/ 715461 h 2881157"/>
                <a:gd name="connsiteX12" fmla="*/ 0 w 2347662"/>
                <a:gd name="connsiteY12" fmla="*/ 1549467 h 2881157"/>
                <a:gd name="connsiteX13" fmla="*/ 135979 w 2347662"/>
                <a:gd name="connsiteY13" fmla="*/ 1685447 h 2881157"/>
                <a:gd name="connsiteX14" fmla="*/ 263800 w 2347662"/>
                <a:gd name="connsiteY14" fmla="*/ 1584822 h 2881157"/>
                <a:gd name="connsiteX15" fmla="*/ 405218 w 2347662"/>
                <a:gd name="connsiteY15" fmla="*/ 999658 h 2881157"/>
                <a:gd name="connsiteX16" fmla="*/ 405218 w 2347662"/>
                <a:gd name="connsiteY16" fmla="*/ 2881158 h 2881157"/>
                <a:gd name="connsiteX17" fmla="*/ 673098 w 2347662"/>
                <a:gd name="connsiteY17" fmla="*/ 2881158 h 2881157"/>
                <a:gd name="connsiteX18" fmla="*/ 673098 w 2347662"/>
                <a:gd name="connsiteY18" fmla="*/ 1670489 h 2881157"/>
                <a:gd name="connsiteX19" fmla="*/ 809077 w 2347662"/>
                <a:gd name="connsiteY19" fmla="*/ 1670489 h 2881157"/>
                <a:gd name="connsiteX20" fmla="*/ 809077 w 2347662"/>
                <a:gd name="connsiteY20" fmla="*/ 2881158 h 2881157"/>
                <a:gd name="connsiteX21" fmla="*/ 1076503 w 2347662"/>
                <a:gd name="connsiteY21" fmla="*/ 2881158 h 2881157"/>
                <a:gd name="connsiteX22" fmla="*/ 1076503 w 2347662"/>
                <a:gd name="connsiteY22" fmla="*/ 991046 h 2881157"/>
                <a:gd name="connsiteX23" fmla="*/ 1126362 w 2347662"/>
                <a:gd name="connsiteY23" fmla="*/ 1204080 h 2881157"/>
                <a:gd name="connsiteX24" fmla="*/ 1153105 w 2347662"/>
                <a:gd name="connsiteY24" fmla="*/ 1238075 h 2881157"/>
                <a:gd name="connsiteX25" fmla="*/ 1334410 w 2347662"/>
                <a:gd name="connsiteY25" fmla="*/ 1301985 h 2881157"/>
                <a:gd name="connsiteX26" fmla="*/ 1443194 w 2347662"/>
                <a:gd name="connsiteY26" fmla="*/ 1252579 h 2881157"/>
                <a:gd name="connsiteX27" fmla="*/ 1719685 w 2347662"/>
                <a:gd name="connsiteY27" fmla="*/ 799315 h 2881157"/>
                <a:gd name="connsiteX28" fmla="*/ 1738269 w 2347662"/>
                <a:gd name="connsiteY28" fmla="*/ 705489 h 2881157"/>
                <a:gd name="connsiteX29" fmla="*/ 2327513 w 2347662"/>
                <a:gd name="connsiteY29" fmla="*/ 116245 h 2881157"/>
                <a:gd name="connsiteX30" fmla="*/ 2327966 w 2347662"/>
                <a:gd name="connsiteY30" fmla="*/ 19700 h 288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47662" h="2881157">
                  <a:moveTo>
                    <a:pt x="2327966" y="19700"/>
                  </a:moveTo>
                  <a:cubicBezTo>
                    <a:pt x="2301319" y="-6567"/>
                    <a:pt x="2258521" y="-6567"/>
                    <a:pt x="2231874" y="19700"/>
                  </a:cubicBezTo>
                  <a:lnTo>
                    <a:pt x="1646256" y="605318"/>
                  </a:lnTo>
                  <a:cubicBezTo>
                    <a:pt x="1599457" y="592109"/>
                    <a:pt x="1549163" y="604896"/>
                    <a:pt x="1514356" y="638859"/>
                  </a:cubicBezTo>
                  <a:cubicBezTo>
                    <a:pt x="1504838" y="648378"/>
                    <a:pt x="1335770" y="924869"/>
                    <a:pt x="1335770" y="924869"/>
                  </a:cubicBezTo>
                  <a:lnTo>
                    <a:pt x="1285005" y="708662"/>
                  </a:lnTo>
                  <a:cubicBezTo>
                    <a:pt x="1278283" y="680786"/>
                    <a:pt x="1264376" y="655154"/>
                    <a:pt x="1244664" y="634327"/>
                  </a:cubicBezTo>
                  <a:cubicBezTo>
                    <a:pt x="1161123" y="566795"/>
                    <a:pt x="1064976" y="516564"/>
                    <a:pt x="961827" y="486562"/>
                  </a:cubicBezTo>
                  <a:cubicBezTo>
                    <a:pt x="888906" y="470966"/>
                    <a:pt x="814720" y="462013"/>
                    <a:pt x="740181" y="459820"/>
                  </a:cubicBezTo>
                  <a:cubicBezTo>
                    <a:pt x="664980" y="460980"/>
                    <a:pt x="590273" y="472262"/>
                    <a:pt x="518081" y="493361"/>
                  </a:cubicBezTo>
                  <a:cubicBezTo>
                    <a:pt x="413998" y="520648"/>
                    <a:pt x="317453" y="571169"/>
                    <a:pt x="235697" y="641126"/>
                  </a:cubicBezTo>
                  <a:cubicBezTo>
                    <a:pt x="215809" y="661826"/>
                    <a:pt x="201872" y="687503"/>
                    <a:pt x="195357" y="715461"/>
                  </a:cubicBezTo>
                  <a:cubicBezTo>
                    <a:pt x="195357" y="715461"/>
                    <a:pt x="0" y="1535869"/>
                    <a:pt x="0" y="1549467"/>
                  </a:cubicBezTo>
                  <a:cubicBezTo>
                    <a:pt x="0" y="1624569"/>
                    <a:pt x="60880" y="1685447"/>
                    <a:pt x="135979" y="1685447"/>
                  </a:cubicBezTo>
                  <a:cubicBezTo>
                    <a:pt x="196164" y="1683901"/>
                    <a:pt x="248167" y="1642962"/>
                    <a:pt x="263800" y="1584822"/>
                  </a:cubicBezTo>
                  <a:lnTo>
                    <a:pt x="405218" y="999658"/>
                  </a:lnTo>
                  <a:lnTo>
                    <a:pt x="405218" y="2881158"/>
                  </a:lnTo>
                  <a:lnTo>
                    <a:pt x="673098" y="2881158"/>
                  </a:lnTo>
                  <a:lnTo>
                    <a:pt x="673098" y="1670489"/>
                  </a:lnTo>
                  <a:lnTo>
                    <a:pt x="809077" y="1670489"/>
                  </a:lnTo>
                  <a:lnTo>
                    <a:pt x="809077" y="2881158"/>
                  </a:lnTo>
                  <a:lnTo>
                    <a:pt x="1076503" y="2881158"/>
                  </a:lnTo>
                  <a:lnTo>
                    <a:pt x="1076503" y="991046"/>
                  </a:lnTo>
                  <a:lnTo>
                    <a:pt x="1126362" y="1204080"/>
                  </a:lnTo>
                  <a:cubicBezTo>
                    <a:pt x="1129820" y="1218806"/>
                    <a:pt x="1139606" y="1231248"/>
                    <a:pt x="1153105" y="1238075"/>
                  </a:cubicBezTo>
                  <a:cubicBezTo>
                    <a:pt x="1205226" y="1278080"/>
                    <a:pt x="1268723" y="1300462"/>
                    <a:pt x="1334410" y="1301985"/>
                  </a:cubicBezTo>
                  <a:cubicBezTo>
                    <a:pt x="1377180" y="1307973"/>
                    <a:pt x="1419561" y="1288722"/>
                    <a:pt x="1443194" y="1252579"/>
                  </a:cubicBezTo>
                  <a:lnTo>
                    <a:pt x="1719685" y="799315"/>
                  </a:lnTo>
                  <a:cubicBezTo>
                    <a:pt x="1737358" y="771448"/>
                    <a:pt x="1743989" y="737988"/>
                    <a:pt x="1738269" y="705489"/>
                  </a:cubicBezTo>
                  <a:lnTo>
                    <a:pt x="2327513" y="116245"/>
                  </a:lnTo>
                  <a:cubicBezTo>
                    <a:pt x="2354201" y="89670"/>
                    <a:pt x="2354405" y="46524"/>
                    <a:pt x="2327966" y="19700"/>
                  </a:cubicBezTo>
                  <a:close/>
                </a:path>
              </a:pathLst>
            </a:custGeom>
            <a:solidFill>
              <a:schemeClr val="accent2"/>
            </a:solidFill>
            <a:ln w="45244"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FED48FE5-591D-8C02-282D-0F10AB84DDA6}"/>
                </a:ext>
              </a:extLst>
            </p:cNvPr>
            <p:cNvSpPr/>
            <p:nvPr/>
          </p:nvSpPr>
          <p:spPr>
            <a:xfrm>
              <a:off x="8054392" y="1757907"/>
              <a:ext cx="2991544" cy="1788858"/>
            </a:xfrm>
            <a:custGeom>
              <a:avLst/>
              <a:gdLst>
                <a:gd name="connsiteX0" fmla="*/ 2402301 w 2583606"/>
                <a:gd name="connsiteY0" fmla="*/ 0 h 1858383"/>
                <a:gd name="connsiteX1" fmla="*/ 181306 w 2583606"/>
                <a:gd name="connsiteY1" fmla="*/ 0 h 1858383"/>
                <a:gd name="connsiteX2" fmla="*/ 0 w 2583606"/>
                <a:gd name="connsiteY2" fmla="*/ 181306 h 1858383"/>
                <a:gd name="connsiteX3" fmla="*/ 0 w 2583606"/>
                <a:gd name="connsiteY3" fmla="*/ 344481 h 1858383"/>
                <a:gd name="connsiteX4" fmla="*/ 181306 w 2583606"/>
                <a:gd name="connsiteY4" fmla="*/ 453264 h 1858383"/>
                <a:gd name="connsiteX5" fmla="*/ 181306 w 2583606"/>
                <a:gd name="connsiteY5" fmla="*/ 181306 h 1858383"/>
                <a:gd name="connsiteX6" fmla="*/ 2402301 w 2583606"/>
                <a:gd name="connsiteY6" fmla="*/ 181306 h 1858383"/>
                <a:gd name="connsiteX7" fmla="*/ 2402301 w 2583606"/>
                <a:gd name="connsiteY7" fmla="*/ 1677078 h 1858383"/>
                <a:gd name="connsiteX8" fmla="*/ 855310 w 2583606"/>
                <a:gd name="connsiteY8" fmla="*/ 1677078 h 1858383"/>
                <a:gd name="connsiteX9" fmla="*/ 744713 w 2583606"/>
                <a:gd name="connsiteY9" fmla="*/ 1858384 h 1858383"/>
                <a:gd name="connsiteX10" fmla="*/ 2402301 w 2583606"/>
                <a:gd name="connsiteY10" fmla="*/ 1858384 h 1858383"/>
                <a:gd name="connsiteX11" fmla="*/ 2583607 w 2583606"/>
                <a:gd name="connsiteY11" fmla="*/ 1677078 h 1858383"/>
                <a:gd name="connsiteX12" fmla="*/ 2583607 w 2583606"/>
                <a:gd name="connsiteY12" fmla="*/ 181306 h 1858383"/>
                <a:gd name="connsiteX13" fmla="*/ 2402301 w 2583606"/>
                <a:gd name="connsiteY13" fmla="*/ 0 h 185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83606" h="1858383">
                  <a:moveTo>
                    <a:pt x="2402301" y="0"/>
                  </a:moveTo>
                  <a:lnTo>
                    <a:pt x="181306" y="0"/>
                  </a:lnTo>
                  <a:cubicBezTo>
                    <a:pt x="81175" y="0"/>
                    <a:pt x="0" y="81175"/>
                    <a:pt x="0" y="181306"/>
                  </a:cubicBezTo>
                  <a:lnTo>
                    <a:pt x="0" y="344481"/>
                  </a:lnTo>
                  <a:cubicBezTo>
                    <a:pt x="69304" y="363346"/>
                    <a:pt x="132045" y="400994"/>
                    <a:pt x="181306" y="453264"/>
                  </a:cubicBezTo>
                  <a:lnTo>
                    <a:pt x="181306" y="181306"/>
                  </a:lnTo>
                  <a:lnTo>
                    <a:pt x="2402301" y="181306"/>
                  </a:lnTo>
                  <a:lnTo>
                    <a:pt x="2402301" y="1677078"/>
                  </a:lnTo>
                  <a:lnTo>
                    <a:pt x="855310" y="1677078"/>
                  </a:lnTo>
                  <a:lnTo>
                    <a:pt x="744713" y="1858384"/>
                  </a:lnTo>
                  <a:lnTo>
                    <a:pt x="2402301" y="1858384"/>
                  </a:lnTo>
                  <a:cubicBezTo>
                    <a:pt x="2502432" y="1858384"/>
                    <a:pt x="2583607" y="1777209"/>
                    <a:pt x="2583607" y="1677078"/>
                  </a:cubicBezTo>
                  <a:lnTo>
                    <a:pt x="2583607" y="181306"/>
                  </a:lnTo>
                  <a:cubicBezTo>
                    <a:pt x="2583607" y="81175"/>
                    <a:pt x="2502432" y="0"/>
                    <a:pt x="2402301" y="0"/>
                  </a:cubicBezTo>
                  <a:close/>
                </a:path>
              </a:pathLst>
            </a:custGeom>
            <a:solidFill>
              <a:schemeClr val="accent1"/>
            </a:solidFill>
            <a:ln w="45244"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95EBD906-FB93-E43A-C759-CE8CDA2A24C9}"/>
                </a:ext>
              </a:extLst>
            </p:cNvPr>
            <p:cNvSpPr txBox="1"/>
            <p:nvPr/>
          </p:nvSpPr>
          <p:spPr>
            <a:xfrm>
              <a:off x="8622332" y="1936819"/>
              <a:ext cx="2042972" cy="523220"/>
            </a:xfrm>
            <a:prstGeom prst="rect">
              <a:avLst/>
            </a:prstGeom>
            <a:noFill/>
          </p:spPr>
          <p:txBody>
            <a:bodyPr wrap="square" rtlCol="0">
              <a:spAutoFit/>
            </a:bodyPr>
            <a:lstStyle/>
            <a:p>
              <a:r>
                <a:rPr lang="en-US" sz="2800" b="1">
                  <a:solidFill>
                    <a:schemeClr val="accent6"/>
                  </a:solidFill>
                </a:rPr>
                <a:t>DLI</a:t>
              </a:r>
              <a:r>
                <a:rPr lang="en-US" sz="2800" b="1"/>
                <a:t>, </a:t>
              </a:r>
              <a:r>
                <a:rPr lang="en-US" sz="2800" b="1">
                  <a:solidFill>
                    <a:srgbClr val="0781A6"/>
                  </a:solidFill>
                </a:rPr>
                <a:t>TBE</a:t>
              </a:r>
              <a:r>
                <a:rPr lang="en-US" sz="2800" b="1"/>
                <a:t>, </a:t>
              </a:r>
              <a:r>
                <a:rPr lang="en-US" sz="2800" b="1">
                  <a:solidFill>
                    <a:srgbClr val="12642D"/>
                  </a:solidFill>
                </a:rPr>
                <a:t>ESL </a:t>
              </a:r>
            </a:p>
          </p:txBody>
        </p:sp>
      </p:grpSp>
    </p:spTree>
    <p:extLst>
      <p:ext uri="{BB962C8B-B14F-4D97-AF65-F5344CB8AC3E}">
        <p14:creationId xmlns:p14="http://schemas.microsoft.com/office/powerpoint/2010/main" val="1952241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8DAA6-8A1F-EE43-6905-24FB4738C14B}"/>
              </a:ext>
            </a:extLst>
          </p:cNvPr>
          <p:cNvSpPr>
            <a:spLocks noGrp="1"/>
          </p:cNvSpPr>
          <p:nvPr>
            <p:ph type="title"/>
          </p:nvPr>
        </p:nvSpPr>
        <p:spPr>
          <a:xfrm>
            <a:off x="832218" y="336284"/>
            <a:ext cx="11121657" cy="751350"/>
          </a:xfrm>
        </p:spPr>
        <p:txBody>
          <a:bodyPr/>
          <a:lstStyle/>
          <a:p>
            <a:r>
              <a:rPr lang="en-US"/>
              <a:t>Next Steps </a:t>
            </a:r>
          </a:p>
        </p:txBody>
      </p:sp>
      <p:sp>
        <p:nvSpPr>
          <p:cNvPr id="3" name="Content Placeholder 2">
            <a:extLst>
              <a:ext uri="{FF2B5EF4-FFF2-40B4-BE49-F238E27FC236}">
                <a16:creationId xmlns:a16="http://schemas.microsoft.com/office/drawing/2014/main" id="{985BF374-2001-0070-4CF8-BE36F706B0CD}"/>
              </a:ext>
            </a:extLst>
          </p:cNvPr>
          <p:cNvSpPr>
            <a:spLocks noGrp="1"/>
          </p:cNvSpPr>
          <p:nvPr>
            <p:ph idx="1"/>
          </p:nvPr>
        </p:nvSpPr>
        <p:spPr>
          <a:xfrm>
            <a:off x="712379" y="1285424"/>
            <a:ext cx="7441021" cy="4351338"/>
          </a:xfrm>
        </p:spPr>
        <p:txBody>
          <a:bodyPr/>
          <a:lstStyle/>
          <a:p>
            <a:r>
              <a:rPr lang="en-US" sz="2400"/>
              <a:t>Inform ESCs and LEAs in our upcoming EB Support Division meetings </a:t>
            </a:r>
          </a:p>
          <a:p>
            <a:pPr lvl="1"/>
            <a:r>
              <a:rPr lang="en-US"/>
              <a:t>ESC Meeting August 11</a:t>
            </a:r>
            <a:r>
              <a:rPr lang="en-US" baseline="30000"/>
              <a:t>th</a:t>
            </a:r>
            <a:r>
              <a:rPr lang="en-US"/>
              <a:t> </a:t>
            </a:r>
          </a:p>
          <a:p>
            <a:pPr lvl="1"/>
            <a:r>
              <a:rPr lang="en-US"/>
              <a:t>LEA Webinar September 1</a:t>
            </a:r>
            <a:r>
              <a:rPr lang="en-US" baseline="30000"/>
              <a:t>st</a:t>
            </a:r>
            <a:r>
              <a:rPr lang="en-US"/>
              <a:t> </a:t>
            </a:r>
          </a:p>
          <a:p>
            <a:r>
              <a:rPr lang="en-US" sz="2400"/>
              <a:t>Update LPAC Modules to align with new terminology and guidance on HLS, identification, placement, progress monitoring, and reclassification/exit </a:t>
            </a:r>
          </a:p>
          <a:p>
            <a:pPr lvl="1"/>
            <a:r>
              <a:rPr lang="en-US"/>
              <a:t>Include all TEA Developed Forms in Multiple Languages </a:t>
            </a:r>
          </a:p>
          <a:p>
            <a:r>
              <a:rPr lang="en-US" sz="2400"/>
              <a:t>Align guidance in Student Attendance Accounting Handbook (SAAH’s next version)</a:t>
            </a:r>
          </a:p>
        </p:txBody>
      </p:sp>
      <p:sp>
        <p:nvSpPr>
          <p:cNvPr id="5" name="Footer Placeholder 4">
            <a:extLst>
              <a:ext uri="{FF2B5EF4-FFF2-40B4-BE49-F238E27FC236}">
                <a16:creationId xmlns:a16="http://schemas.microsoft.com/office/drawing/2014/main" id="{18F605D0-5990-E8B8-398D-CE8B4608BBC3}"/>
              </a:ext>
            </a:extLst>
          </p:cNvPr>
          <p:cNvSpPr>
            <a:spLocks noGrp="1"/>
          </p:cNvSpPr>
          <p:nvPr>
            <p:ph type="ftr" sz="quarter" idx="3"/>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2F8B40A3-C1C5-A707-58E1-BCDDDD5EA266}"/>
              </a:ext>
            </a:extLst>
          </p:cNvPr>
          <p:cNvSpPr>
            <a:spLocks noGrp="1"/>
          </p:cNvSpPr>
          <p:nvPr>
            <p:ph type="sldNum" sz="quarter" idx="4"/>
          </p:nvPr>
        </p:nvSpPr>
        <p:spPr/>
        <p:txBody>
          <a:bodyPr/>
          <a:lstStyle/>
          <a:p>
            <a:fld id="{69C126A4-BD19-47E2-8A0E-0DE1B9D8C925}" type="slidenum">
              <a:rPr lang="en-US" smtClean="0"/>
              <a:pPr/>
              <a:t>11</a:t>
            </a:fld>
            <a:endParaRPr lang="en-US"/>
          </a:p>
        </p:txBody>
      </p:sp>
      <p:grpSp>
        <p:nvGrpSpPr>
          <p:cNvPr id="7" name="Group 6">
            <a:extLst>
              <a:ext uri="{FF2B5EF4-FFF2-40B4-BE49-F238E27FC236}">
                <a16:creationId xmlns:a16="http://schemas.microsoft.com/office/drawing/2014/main" id="{148B8735-AEFE-7923-09B7-F17E18C046FF}"/>
              </a:ext>
            </a:extLst>
          </p:cNvPr>
          <p:cNvGrpSpPr/>
          <p:nvPr/>
        </p:nvGrpSpPr>
        <p:grpSpPr>
          <a:xfrm>
            <a:off x="7942962" y="467903"/>
            <a:ext cx="3891075" cy="3750953"/>
            <a:chOff x="7088633" y="996871"/>
            <a:chExt cx="4244083" cy="4264806"/>
          </a:xfrm>
        </p:grpSpPr>
        <p:sp>
          <p:nvSpPr>
            <p:cNvPr id="8" name="Oval 7">
              <a:extLst>
                <a:ext uri="{FF2B5EF4-FFF2-40B4-BE49-F238E27FC236}">
                  <a16:creationId xmlns:a16="http://schemas.microsoft.com/office/drawing/2014/main" id="{0BFF0B17-F515-838E-384F-8066039843C2}"/>
                </a:ext>
              </a:extLst>
            </p:cNvPr>
            <p:cNvSpPr/>
            <p:nvPr/>
          </p:nvSpPr>
          <p:spPr>
            <a:xfrm>
              <a:off x="7088633" y="996871"/>
              <a:ext cx="4244083" cy="4244083"/>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pic>
          <p:nvPicPr>
            <p:cNvPr id="9" name="Picture 4">
              <a:extLst>
                <a:ext uri="{FF2B5EF4-FFF2-40B4-BE49-F238E27FC236}">
                  <a16:creationId xmlns:a16="http://schemas.microsoft.com/office/drawing/2014/main" id="{DC3C50E4-6A40-C5ED-AFD3-93FD2282DC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8633" y="1017594"/>
              <a:ext cx="4244083" cy="42440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279494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727FFD-FDD4-530B-451D-6DBBD234E0FB}"/>
              </a:ext>
            </a:extLst>
          </p:cNvPr>
          <p:cNvSpPr>
            <a:spLocks noGrp="1"/>
          </p:cNvSpPr>
          <p:nvPr>
            <p:ph type="title"/>
          </p:nvPr>
        </p:nvSpPr>
        <p:spPr/>
        <p:txBody>
          <a:bodyPr/>
          <a:lstStyle/>
          <a:p>
            <a:r>
              <a:rPr lang="en-US"/>
              <a:t>Thank you for your time!</a:t>
            </a:r>
          </a:p>
        </p:txBody>
      </p:sp>
      <p:sp>
        <p:nvSpPr>
          <p:cNvPr id="4" name="Content Placeholder 3">
            <a:extLst>
              <a:ext uri="{FF2B5EF4-FFF2-40B4-BE49-F238E27FC236}">
                <a16:creationId xmlns:a16="http://schemas.microsoft.com/office/drawing/2014/main" id="{16D12035-7F6A-A5FE-20E1-E4AE095B9747}"/>
              </a:ext>
            </a:extLst>
          </p:cNvPr>
          <p:cNvSpPr>
            <a:spLocks noGrp="1"/>
          </p:cNvSpPr>
          <p:nvPr>
            <p:ph idx="1"/>
          </p:nvPr>
        </p:nvSpPr>
        <p:spPr>
          <a:xfrm>
            <a:off x="2347415" y="1495651"/>
            <a:ext cx="8988726" cy="1621622"/>
          </a:xfrm>
        </p:spPr>
        <p:txBody>
          <a:bodyPr/>
          <a:lstStyle/>
          <a:p>
            <a:pPr marL="0" indent="0" algn="ctr">
              <a:buNone/>
            </a:pPr>
            <a:r>
              <a:rPr lang="en-US"/>
              <a:t>Contact Information</a:t>
            </a:r>
          </a:p>
          <a:p>
            <a:pPr marL="0" indent="0" algn="ctr">
              <a:buNone/>
            </a:pPr>
            <a:r>
              <a:rPr lang="en-US" sz="2800" b="1"/>
              <a:t>Emergent Bilingual Support Division</a:t>
            </a:r>
          </a:p>
          <a:p>
            <a:pPr marL="0" indent="0" algn="ctr">
              <a:buNone/>
            </a:pPr>
            <a:r>
              <a:rPr lang="en-US" sz="2000" b="1">
                <a:hlinkClick r:id="rId2">
                  <a:extLst>
                    <a:ext uri="{A12FA001-AC4F-418D-AE19-62706E023703}">
                      <ahyp:hlinkClr xmlns:ahyp="http://schemas.microsoft.com/office/drawing/2018/hyperlinkcolor" val="tx"/>
                    </a:ext>
                  </a:extLst>
                </a:hlinkClick>
              </a:rPr>
              <a:t>EmergentBilingualSupport@tea.texas.gov</a:t>
            </a:r>
            <a:r>
              <a:rPr lang="en-US" sz="2000" b="1"/>
              <a:t> </a:t>
            </a:r>
          </a:p>
          <a:p>
            <a:pPr marL="0" indent="0" algn="ctr">
              <a:buNone/>
            </a:pPr>
            <a:endParaRPr lang="en-US" sz="2000" b="1"/>
          </a:p>
          <a:p>
            <a:pPr marL="0" indent="0" algn="ctr">
              <a:buNone/>
            </a:pPr>
            <a:endParaRPr lang="en-US"/>
          </a:p>
        </p:txBody>
      </p:sp>
      <p:sp>
        <p:nvSpPr>
          <p:cNvPr id="5" name="TextBox 4">
            <a:extLst>
              <a:ext uri="{FF2B5EF4-FFF2-40B4-BE49-F238E27FC236}">
                <a16:creationId xmlns:a16="http://schemas.microsoft.com/office/drawing/2014/main" id="{A9F99A66-4547-04DB-952D-C6EB6D22785F}"/>
              </a:ext>
            </a:extLst>
          </p:cNvPr>
          <p:cNvSpPr txBox="1"/>
          <p:nvPr/>
        </p:nvSpPr>
        <p:spPr>
          <a:xfrm>
            <a:off x="4541116" y="4429004"/>
            <a:ext cx="4601324" cy="1015663"/>
          </a:xfrm>
          <a:prstGeom prst="rect">
            <a:avLst/>
          </a:prstGeom>
          <a:noFill/>
        </p:spPr>
        <p:txBody>
          <a:bodyPr wrap="none" rtlCol="0">
            <a:spAutoFit/>
          </a:bodyPr>
          <a:lstStyle/>
          <a:p>
            <a:pPr algn="ctr"/>
            <a:r>
              <a:rPr lang="en-US" sz="2400" b="1">
                <a:solidFill>
                  <a:schemeClr val="accent1"/>
                </a:solidFill>
              </a:rPr>
              <a:t>Dr. Julie Lara </a:t>
            </a:r>
          </a:p>
          <a:p>
            <a:pPr algn="ctr"/>
            <a:r>
              <a:rPr lang="en-US" sz="1800"/>
              <a:t>Director of Emergent Bilingual Support Division</a:t>
            </a:r>
          </a:p>
          <a:p>
            <a:pPr algn="ctr"/>
            <a:r>
              <a:rPr lang="en-US" sz="1800"/>
              <a:t>Julie.lara@tea.texas.gov</a:t>
            </a:r>
          </a:p>
        </p:txBody>
      </p:sp>
      <p:grpSp>
        <p:nvGrpSpPr>
          <p:cNvPr id="6" name="Group 5">
            <a:extLst>
              <a:ext uri="{FF2B5EF4-FFF2-40B4-BE49-F238E27FC236}">
                <a16:creationId xmlns:a16="http://schemas.microsoft.com/office/drawing/2014/main" id="{89B5FD5C-20E1-F233-AB4D-EA70ED3A51A1}"/>
              </a:ext>
            </a:extLst>
          </p:cNvPr>
          <p:cNvGrpSpPr/>
          <p:nvPr/>
        </p:nvGrpSpPr>
        <p:grpSpPr>
          <a:xfrm>
            <a:off x="6308429" y="3186467"/>
            <a:ext cx="951235" cy="1015663"/>
            <a:chOff x="4401121" y="1858262"/>
            <a:chExt cx="3300217" cy="3626114"/>
          </a:xfrm>
        </p:grpSpPr>
        <p:grpSp>
          <p:nvGrpSpPr>
            <p:cNvPr id="7" name="Content Placeholder 4" descr="Customer review">
              <a:extLst>
                <a:ext uri="{FF2B5EF4-FFF2-40B4-BE49-F238E27FC236}">
                  <a16:creationId xmlns:a16="http://schemas.microsoft.com/office/drawing/2014/main" id="{D932EB2E-7F06-EB1C-2491-17A03A2E8A0A}"/>
                </a:ext>
              </a:extLst>
            </p:cNvPr>
            <p:cNvGrpSpPr/>
            <p:nvPr/>
          </p:nvGrpSpPr>
          <p:grpSpPr>
            <a:xfrm>
              <a:off x="4401121" y="1858262"/>
              <a:ext cx="3300217" cy="3626114"/>
              <a:chOff x="4401121" y="1858262"/>
              <a:chExt cx="3300217" cy="3626114"/>
            </a:xfrm>
          </p:grpSpPr>
          <p:sp>
            <p:nvSpPr>
              <p:cNvPr id="11" name="Freeform: Shape 10">
                <a:extLst>
                  <a:ext uri="{FF2B5EF4-FFF2-40B4-BE49-F238E27FC236}">
                    <a16:creationId xmlns:a16="http://schemas.microsoft.com/office/drawing/2014/main" id="{2440E908-303D-AE9E-B5FC-DBE9DAC42A1F}"/>
                  </a:ext>
                </a:extLst>
              </p:cNvPr>
              <p:cNvSpPr/>
              <p:nvPr/>
            </p:nvSpPr>
            <p:spPr>
              <a:xfrm>
                <a:off x="6634808" y="3705314"/>
                <a:ext cx="705279" cy="705279"/>
              </a:xfrm>
              <a:custGeom>
                <a:avLst/>
                <a:gdLst>
                  <a:gd name="connsiteX0" fmla="*/ 705279 w 705279"/>
                  <a:gd name="connsiteY0" fmla="*/ 352640 h 705279"/>
                  <a:gd name="connsiteX1" fmla="*/ 352640 w 705279"/>
                  <a:gd name="connsiteY1" fmla="*/ 705279 h 705279"/>
                  <a:gd name="connsiteX2" fmla="*/ 0 w 705279"/>
                  <a:gd name="connsiteY2" fmla="*/ 352640 h 705279"/>
                  <a:gd name="connsiteX3" fmla="*/ 352640 w 705279"/>
                  <a:gd name="connsiteY3" fmla="*/ 0 h 705279"/>
                  <a:gd name="connsiteX4" fmla="*/ 705279 w 705279"/>
                  <a:gd name="connsiteY4" fmla="*/ 352640 h 705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79" h="705279">
                    <a:moveTo>
                      <a:pt x="705279" y="352640"/>
                    </a:moveTo>
                    <a:cubicBezTo>
                      <a:pt x="705279" y="547397"/>
                      <a:pt x="547397" y="705279"/>
                      <a:pt x="352640" y="705279"/>
                    </a:cubicBezTo>
                    <a:cubicBezTo>
                      <a:pt x="157882" y="705279"/>
                      <a:pt x="0" y="547397"/>
                      <a:pt x="0" y="352640"/>
                    </a:cubicBezTo>
                    <a:cubicBezTo>
                      <a:pt x="0" y="157882"/>
                      <a:pt x="157882" y="0"/>
                      <a:pt x="352640" y="0"/>
                    </a:cubicBezTo>
                    <a:cubicBezTo>
                      <a:pt x="547397" y="0"/>
                      <a:pt x="705279" y="157882"/>
                      <a:pt x="705279" y="352640"/>
                    </a:cubicBezTo>
                    <a:close/>
                  </a:path>
                </a:pathLst>
              </a:custGeom>
              <a:solidFill>
                <a:srgbClr val="0A518B"/>
              </a:solidFill>
              <a:ln w="4524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B9822FCE-259E-0379-6E59-6BDF40AC1B15}"/>
                  </a:ext>
                </a:extLst>
              </p:cNvPr>
              <p:cNvSpPr/>
              <p:nvPr/>
            </p:nvSpPr>
            <p:spPr>
              <a:xfrm>
                <a:off x="4687810" y="3705313"/>
                <a:ext cx="705279" cy="705279"/>
              </a:xfrm>
              <a:custGeom>
                <a:avLst/>
                <a:gdLst>
                  <a:gd name="connsiteX0" fmla="*/ 705279 w 705279"/>
                  <a:gd name="connsiteY0" fmla="*/ 352640 h 705279"/>
                  <a:gd name="connsiteX1" fmla="*/ 352640 w 705279"/>
                  <a:gd name="connsiteY1" fmla="*/ 705279 h 705279"/>
                  <a:gd name="connsiteX2" fmla="*/ 0 w 705279"/>
                  <a:gd name="connsiteY2" fmla="*/ 352640 h 705279"/>
                  <a:gd name="connsiteX3" fmla="*/ 352640 w 705279"/>
                  <a:gd name="connsiteY3" fmla="*/ 0 h 705279"/>
                  <a:gd name="connsiteX4" fmla="*/ 705279 w 705279"/>
                  <a:gd name="connsiteY4" fmla="*/ 352640 h 705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5279" h="705279">
                    <a:moveTo>
                      <a:pt x="705279" y="352640"/>
                    </a:moveTo>
                    <a:cubicBezTo>
                      <a:pt x="705279" y="547397"/>
                      <a:pt x="547397" y="705279"/>
                      <a:pt x="352640" y="705279"/>
                    </a:cubicBezTo>
                    <a:cubicBezTo>
                      <a:pt x="157882" y="705279"/>
                      <a:pt x="0" y="547397"/>
                      <a:pt x="0" y="352640"/>
                    </a:cubicBezTo>
                    <a:cubicBezTo>
                      <a:pt x="0" y="157882"/>
                      <a:pt x="157882" y="0"/>
                      <a:pt x="352640" y="0"/>
                    </a:cubicBezTo>
                    <a:cubicBezTo>
                      <a:pt x="547397" y="0"/>
                      <a:pt x="705279" y="157882"/>
                      <a:pt x="705279" y="352640"/>
                    </a:cubicBezTo>
                    <a:close/>
                  </a:path>
                </a:pathLst>
              </a:custGeom>
              <a:solidFill>
                <a:schemeClr val="accent4"/>
              </a:solidFill>
              <a:ln w="4524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2BEB60CA-0EC9-DFA6-DFA0-B98A292863D2}"/>
                  </a:ext>
                </a:extLst>
              </p:cNvPr>
              <p:cNvSpPr/>
              <p:nvPr/>
            </p:nvSpPr>
            <p:spPr>
              <a:xfrm>
                <a:off x="6415881" y="4506230"/>
                <a:ext cx="1276910" cy="706188"/>
              </a:xfrm>
              <a:custGeom>
                <a:avLst/>
                <a:gdLst>
                  <a:gd name="connsiteX0" fmla="*/ 1206590 w 1276910"/>
                  <a:gd name="connsiteY0" fmla="*/ 209864 h 706188"/>
                  <a:gd name="connsiteX1" fmla="*/ 861656 w 1276910"/>
                  <a:gd name="connsiteY1" fmla="*/ 45329 h 706188"/>
                  <a:gd name="connsiteX2" fmla="*/ 571566 w 1276910"/>
                  <a:gd name="connsiteY2" fmla="*/ 2 h 706188"/>
                  <a:gd name="connsiteX3" fmla="*/ 281931 w 1276910"/>
                  <a:gd name="connsiteY3" fmla="*/ 45329 h 706188"/>
                  <a:gd name="connsiteX4" fmla="*/ 16318 w 1276910"/>
                  <a:gd name="connsiteY4" fmla="*/ 159552 h 706188"/>
                  <a:gd name="connsiteX5" fmla="*/ 0 w 1276910"/>
                  <a:gd name="connsiteY5" fmla="*/ 178135 h 706188"/>
                  <a:gd name="connsiteX6" fmla="*/ 362612 w 1276910"/>
                  <a:gd name="connsiteY6" fmla="*/ 359441 h 706188"/>
                  <a:gd name="connsiteX7" fmla="*/ 494965 w 1276910"/>
                  <a:gd name="connsiteY7" fmla="*/ 625507 h 706188"/>
                  <a:gd name="connsiteX8" fmla="*/ 494965 w 1276910"/>
                  <a:gd name="connsiteY8" fmla="*/ 706188 h 706188"/>
                  <a:gd name="connsiteX9" fmla="*/ 1276846 w 1276910"/>
                  <a:gd name="connsiteY9" fmla="*/ 706188 h 706188"/>
                  <a:gd name="connsiteX10" fmla="*/ 1276846 w 1276910"/>
                  <a:gd name="connsiteY10" fmla="*/ 351282 h 706188"/>
                  <a:gd name="connsiteX11" fmla="*/ 1206590 w 1276910"/>
                  <a:gd name="connsiteY11" fmla="*/ 209864 h 70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6910" h="706188">
                    <a:moveTo>
                      <a:pt x="1206590" y="209864"/>
                    </a:moveTo>
                    <a:cubicBezTo>
                      <a:pt x="1104850" y="130742"/>
                      <a:pt x="987169" y="74610"/>
                      <a:pt x="861656" y="45329"/>
                    </a:cubicBezTo>
                    <a:cubicBezTo>
                      <a:pt x="767318" y="17770"/>
                      <a:pt x="669812" y="2532"/>
                      <a:pt x="571566" y="2"/>
                    </a:cubicBezTo>
                    <a:cubicBezTo>
                      <a:pt x="473240" y="-220"/>
                      <a:pt x="375489" y="15078"/>
                      <a:pt x="281931" y="45329"/>
                    </a:cubicBezTo>
                    <a:cubicBezTo>
                      <a:pt x="188300" y="70259"/>
                      <a:pt x="98816" y="108741"/>
                      <a:pt x="16318" y="159552"/>
                    </a:cubicBezTo>
                    <a:lnTo>
                      <a:pt x="0" y="178135"/>
                    </a:lnTo>
                    <a:cubicBezTo>
                      <a:pt x="131782" y="213708"/>
                      <a:pt x="255084" y="275361"/>
                      <a:pt x="362612" y="359441"/>
                    </a:cubicBezTo>
                    <a:cubicBezTo>
                      <a:pt x="447127" y="421534"/>
                      <a:pt x="496429" y="520645"/>
                      <a:pt x="494965" y="625507"/>
                    </a:cubicBezTo>
                    <a:lnTo>
                      <a:pt x="494965" y="706188"/>
                    </a:lnTo>
                    <a:lnTo>
                      <a:pt x="1276846" y="706188"/>
                    </a:lnTo>
                    <a:lnTo>
                      <a:pt x="1276846" y="351282"/>
                    </a:lnTo>
                    <a:cubicBezTo>
                      <a:pt x="1278392" y="295395"/>
                      <a:pt x="1252061" y="242395"/>
                      <a:pt x="1206590" y="209864"/>
                    </a:cubicBezTo>
                    <a:close/>
                  </a:path>
                </a:pathLst>
              </a:custGeom>
              <a:solidFill>
                <a:srgbClr val="0A518B"/>
              </a:solidFill>
              <a:ln w="4524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12DD5DD5-9433-7D7D-F8A6-7EBBEE2E1A25}"/>
                  </a:ext>
                </a:extLst>
              </p:cNvPr>
              <p:cNvSpPr/>
              <p:nvPr/>
            </p:nvSpPr>
            <p:spPr>
              <a:xfrm>
                <a:off x="4401121" y="4506229"/>
                <a:ext cx="1278658" cy="706189"/>
              </a:xfrm>
              <a:custGeom>
                <a:avLst/>
                <a:gdLst>
                  <a:gd name="connsiteX0" fmla="*/ 783694 w 1278658"/>
                  <a:gd name="connsiteY0" fmla="*/ 625508 h 706189"/>
                  <a:gd name="connsiteX1" fmla="*/ 911061 w 1278658"/>
                  <a:gd name="connsiteY1" fmla="*/ 363974 h 706189"/>
                  <a:gd name="connsiteX2" fmla="*/ 916047 w 1278658"/>
                  <a:gd name="connsiteY2" fmla="*/ 359442 h 706189"/>
                  <a:gd name="connsiteX3" fmla="*/ 921940 w 1278658"/>
                  <a:gd name="connsiteY3" fmla="*/ 355363 h 706189"/>
                  <a:gd name="connsiteX4" fmla="*/ 1278659 w 1278658"/>
                  <a:gd name="connsiteY4" fmla="*/ 178589 h 706189"/>
                  <a:gd name="connsiteX5" fmla="*/ 1252823 w 1278658"/>
                  <a:gd name="connsiteY5" fmla="*/ 149127 h 706189"/>
                  <a:gd name="connsiteX6" fmla="*/ 995369 w 1278658"/>
                  <a:gd name="connsiteY6" fmla="*/ 45330 h 706189"/>
                  <a:gd name="connsiteX7" fmla="*/ 705733 w 1278658"/>
                  <a:gd name="connsiteY7" fmla="*/ 3 h 706189"/>
                  <a:gd name="connsiteX8" fmla="*/ 415643 w 1278658"/>
                  <a:gd name="connsiteY8" fmla="*/ 45330 h 706189"/>
                  <a:gd name="connsiteX9" fmla="*/ 70709 w 1278658"/>
                  <a:gd name="connsiteY9" fmla="*/ 209865 h 706189"/>
                  <a:gd name="connsiteX10" fmla="*/ 0 w 1278658"/>
                  <a:gd name="connsiteY10" fmla="*/ 351283 h 706189"/>
                  <a:gd name="connsiteX11" fmla="*/ 0 w 1278658"/>
                  <a:gd name="connsiteY11" fmla="*/ 706189 h 706189"/>
                  <a:gd name="connsiteX12" fmla="*/ 783694 w 1278658"/>
                  <a:gd name="connsiteY12" fmla="*/ 706189 h 706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8658" h="706189">
                    <a:moveTo>
                      <a:pt x="783694" y="625508"/>
                    </a:moveTo>
                    <a:cubicBezTo>
                      <a:pt x="783767" y="523406"/>
                      <a:pt x="830725" y="426987"/>
                      <a:pt x="911061" y="363974"/>
                    </a:cubicBezTo>
                    <a:lnTo>
                      <a:pt x="916047" y="359442"/>
                    </a:lnTo>
                    <a:lnTo>
                      <a:pt x="921940" y="355363"/>
                    </a:lnTo>
                    <a:cubicBezTo>
                      <a:pt x="1030741" y="277936"/>
                      <a:pt x="1151147" y="218268"/>
                      <a:pt x="1278659" y="178589"/>
                    </a:cubicBezTo>
                    <a:cubicBezTo>
                      <a:pt x="1269594" y="169071"/>
                      <a:pt x="1260981" y="159099"/>
                      <a:pt x="1252823" y="149127"/>
                    </a:cubicBezTo>
                    <a:cubicBezTo>
                      <a:pt x="1172405" y="102409"/>
                      <a:pt x="1085704" y="67453"/>
                      <a:pt x="995369" y="45330"/>
                    </a:cubicBezTo>
                    <a:cubicBezTo>
                      <a:pt x="901180" y="17807"/>
                      <a:pt x="803828" y="2573"/>
                      <a:pt x="705733" y="3"/>
                    </a:cubicBezTo>
                    <a:cubicBezTo>
                      <a:pt x="607252" y="-251"/>
                      <a:pt x="509351" y="15047"/>
                      <a:pt x="415643" y="45330"/>
                    </a:cubicBezTo>
                    <a:cubicBezTo>
                      <a:pt x="291889" y="79470"/>
                      <a:pt x="175123" y="135167"/>
                      <a:pt x="70709" y="209865"/>
                    </a:cubicBezTo>
                    <a:cubicBezTo>
                      <a:pt x="26743" y="243701"/>
                      <a:pt x="694" y="295808"/>
                      <a:pt x="0" y="351283"/>
                    </a:cubicBezTo>
                    <a:lnTo>
                      <a:pt x="0" y="706189"/>
                    </a:lnTo>
                    <a:lnTo>
                      <a:pt x="783694" y="706189"/>
                    </a:lnTo>
                    <a:close/>
                  </a:path>
                </a:pathLst>
              </a:custGeom>
              <a:solidFill>
                <a:schemeClr val="accent4"/>
              </a:solidFill>
              <a:ln w="4524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1DB98CB0-8EC9-BAE7-08C7-3A486D8EF8E7}"/>
                  </a:ext>
                </a:extLst>
              </p:cNvPr>
              <p:cNvSpPr/>
              <p:nvPr/>
            </p:nvSpPr>
            <p:spPr>
              <a:xfrm>
                <a:off x="5341644" y="4780902"/>
                <a:ext cx="1411068" cy="703474"/>
              </a:xfrm>
              <a:custGeom>
                <a:avLst/>
                <a:gdLst>
                  <a:gd name="connsiteX0" fmla="*/ 0 w 1411068"/>
                  <a:gd name="connsiteY0" fmla="*/ 703475 h 703474"/>
                  <a:gd name="connsiteX1" fmla="*/ 0 w 1411068"/>
                  <a:gd name="connsiteY1" fmla="*/ 350835 h 703474"/>
                  <a:gd name="connsiteX2" fmla="*/ 70709 w 1411068"/>
                  <a:gd name="connsiteY2" fmla="*/ 209870 h 703474"/>
                  <a:gd name="connsiteX3" fmla="*/ 415644 w 1411068"/>
                  <a:gd name="connsiteY3" fmla="*/ 45335 h 703474"/>
                  <a:gd name="connsiteX4" fmla="*/ 705279 w 1411068"/>
                  <a:gd name="connsiteY4" fmla="*/ 9 h 703474"/>
                  <a:gd name="connsiteX5" fmla="*/ 995369 w 1411068"/>
                  <a:gd name="connsiteY5" fmla="*/ 45335 h 703474"/>
                  <a:gd name="connsiteX6" fmla="*/ 1340303 w 1411068"/>
                  <a:gd name="connsiteY6" fmla="*/ 209870 h 703474"/>
                  <a:gd name="connsiteX7" fmla="*/ 1411012 w 1411068"/>
                  <a:gd name="connsiteY7" fmla="*/ 350835 h 703474"/>
                  <a:gd name="connsiteX8" fmla="*/ 1411012 w 1411068"/>
                  <a:gd name="connsiteY8" fmla="*/ 703475 h 70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068" h="703474">
                    <a:moveTo>
                      <a:pt x="0" y="703475"/>
                    </a:moveTo>
                    <a:lnTo>
                      <a:pt x="0" y="350835"/>
                    </a:lnTo>
                    <a:cubicBezTo>
                      <a:pt x="213" y="295369"/>
                      <a:pt x="26380" y="243203"/>
                      <a:pt x="70709" y="209870"/>
                    </a:cubicBezTo>
                    <a:cubicBezTo>
                      <a:pt x="174915" y="134823"/>
                      <a:pt x="291744" y="79094"/>
                      <a:pt x="415644" y="45335"/>
                    </a:cubicBezTo>
                    <a:cubicBezTo>
                      <a:pt x="509156" y="14885"/>
                      <a:pt x="606935" y="-418"/>
                      <a:pt x="705279" y="9"/>
                    </a:cubicBezTo>
                    <a:cubicBezTo>
                      <a:pt x="803547" y="2316"/>
                      <a:pt x="901081" y="17559"/>
                      <a:pt x="995369" y="45335"/>
                    </a:cubicBezTo>
                    <a:cubicBezTo>
                      <a:pt x="1121018" y="74231"/>
                      <a:pt x="1238776" y="130399"/>
                      <a:pt x="1340303" y="209870"/>
                    </a:cubicBezTo>
                    <a:cubicBezTo>
                      <a:pt x="1385938" y="242101"/>
                      <a:pt x="1412467" y="294988"/>
                      <a:pt x="1411012" y="350835"/>
                    </a:cubicBezTo>
                    <a:lnTo>
                      <a:pt x="1411012" y="703475"/>
                    </a:lnTo>
                    <a:close/>
                  </a:path>
                </a:pathLst>
              </a:custGeom>
              <a:solidFill>
                <a:srgbClr val="00B050"/>
              </a:solidFill>
              <a:ln w="45244"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8BA2FBCE-15D8-2C6C-A5E9-FEA009A56FC9}"/>
                  </a:ext>
                </a:extLst>
              </p:cNvPr>
              <p:cNvSpPr/>
              <p:nvPr/>
            </p:nvSpPr>
            <p:spPr>
              <a:xfrm>
                <a:off x="4403840" y="1858262"/>
                <a:ext cx="3297498" cy="1631751"/>
              </a:xfrm>
              <a:custGeom>
                <a:avLst/>
                <a:gdLst>
                  <a:gd name="connsiteX0" fmla="*/ 3116193 w 3297498"/>
                  <a:gd name="connsiteY0" fmla="*/ 0 h 1631751"/>
                  <a:gd name="connsiteX1" fmla="*/ 181306 w 3297498"/>
                  <a:gd name="connsiteY1" fmla="*/ 0 h 1631751"/>
                  <a:gd name="connsiteX2" fmla="*/ 0 w 3297498"/>
                  <a:gd name="connsiteY2" fmla="*/ 181306 h 1631751"/>
                  <a:gd name="connsiteX3" fmla="*/ 0 w 3297498"/>
                  <a:gd name="connsiteY3" fmla="*/ 1178487 h 1631751"/>
                  <a:gd name="connsiteX4" fmla="*/ 181306 w 3297498"/>
                  <a:gd name="connsiteY4" fmla="*/ 1359793 h 1631751"/>
                  <a:gd name="connsiteX5" fmla="*/ 849871 w 3297498"/>
                  <a:gd name="connsiteY5" fmla="*/ 1359793 h 1631751"/>
                  <a:gd name="connsiteX6" fmla="*/ 849871 w 3297498"/>
                  <a:gd name="connsiteY6" fmla="*/ 1631752 h 1631751"/>
                  <a:gd name="connsiteX7" fmla="*/ 1135427 w 3297498"/>
                  <a:gd name="connsiteY7" fmla="*/ 1359793 h 1631751"/>
                  <a:gd name="connsiteX8" fmla="*/ 1443647 w 3297498"/>
                  <a:gd name="connsiteY8" fmla="*/ 1359793 h 1631751"/>
                  <a:gd name="connsiteX9" fmla="*/ 1620420 w 3297498"/>
                  <a:gd name="connsiteY9" fmla="*/ 1631752 h 1631751"/>
                  <a:gd name="connsiteX10" fmla="*/ 1783595 w 3297498"/>
                  <a:gd name="connsiteY10" fmla="*/ 1359793 h 1631751"/>
                  <a:gd name="connsiteX11" fmla="*/ 2105413 w 3297498"/>
                  <a:gd name="connsiteY11" fmla="*/ 1359793 h 1631751"/>
                  <a:gd name="connsiteX12" fmla="*/ 2390970 w 3297498"/>
                  <a:gd name="connsiteY12" fmla="*/ 1631752 h 1631751"/>
                  <a:gd name="connsiteX13" fmla="*/ 2390970 w 3297498"/>
                  <a:gd name="connsiteY13" fmla="*/ 1359793 h 1631751"/>
                  <a:gd name="connsiteX14" fmla="*/ 3116193 w 3297498"/>
                  <a:gd name="connsiteY14" fmla="*/ 1359793 h 1631751"/>
                  <a:gd name="connsiteX15" fmla="*/ 3297498 w 3297498"/>
                  <a:gd name="connsiteY15" fmla="*/ 1178487 h 1631751"/>
                  <a:gd name="connsiteX16" fmla="*/ 3297498 w 3297498"/>
                  <a:gd name="connsiteY16" fmla="*/ 181306 h 1631751"/>
                  <a:gd name="connsiteX17" fmla="*/ 3116193 w 3297498"/>
                  <a:gd name="connsiteY17" fmla="*/ 0 h 1631751"/>
                  <a:gd name="connsiteX18" fmla="*/ 453264 w 3297498"/>
                  <a:gd name="connsiteY18" fmla="*/ 407938 h 1631751"/>
                  <a:gd name="connsiteX19" fmla="*/ 2572275 w 3297498"/>
                  <a:gd name="connsiteY19" fmla="*/ 407938 h 1631751"/>
                  <a:gd name="connsiteX20" fmla="*/ 2572275 w 3297498"/>
                  <a:gd name="connsiteY20" fmla="*/ 498591 h 1631751"/>
                  <a:gd name="connsiteX21" fmla="*/ 453264 w 3297498"/>
                  <a:gd name="connsiteY21" fmla="*/ 498591 h 1631751"/>
                  <a:gd name="connsiteX22" fmla="*/ 2119011 w 3297498"/>
                  <a:gd name="connsiteY22" fmla="*/ 951855 h 1631751"/>
                  <a:gd name="connsiteX23" fmla="*/ 453264 w 3297498"/>
                  <a:gd name="connsiteY23" fmla="*/ 951855 h 1631751"/>
                  <a:gd name="connsiteX24" fmla="*/ 453264 w 3297498"/>
                  <a:gd name="connsiteY24" fmla="*/ 861202 h 1631751"/>
                  <a:gd name="connsiteX25" fmla="*/ 2119011 w 3297498"/>
                  <a:gd name="connsiteY25" fmla="*/ 861202 h 1631751"/>
                  <a:gd name="connsiteX26" fmla="*/ 2844234 w 3297498"/>
                  <a:gd name="connsiteY26" fmla="*/ 725223 h 1631751"/>
                  <a:gd name="connsiteX27" fmla="*/ 453264 w 3297498"/>
                  <a:gd name="connsiteY27" fmla="*/ 725223 h 1631751"/>
                  <a:gd name="connsiteX28" fmla="*/ 453264 w 3297498"/>
                  <a:gd name="connsiteY28" fmla="*/ 634570 h 1631751"/>
                  <a:gd name="connsiteX29" fmla="*/ 2844234 w 3297498"/>
                  <a:gd name="connsiteY29" fmla="*/ 634570 h 163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297498" h="1631751">
                    <a:moveTo>
                      <a:pt x="3116193" y="0"/>
                    </a:moveTo>
                    <a:lnTo>
                      <a:pt x="181306" y="0"/>
                    </a:lnTo>
                    <a:cubicBezTo>
                      <a:pt x="81175" y="0"/>
                      <a:pt x="0" y="81173"/>
                      <a:pt x="0" y="181306"/>
                    </a:cubicBezTo>
                    <a:lnTo>
                      <a:pt x="0" y="1178487"/>
                    </a:lnTo>
                    <a:cubicBezTo>
                      <a:pt x="0" y="1278618"/>
                      <a:pt x="81175" y="1359793"/>
                      <a:pt x="181306" y="1359793"/>
                    </a:cubicBezTo>
                    <a:lnTo>
                      <a:pt x="849871" y="1359793"/>
                    </a:lnTo>
                    <a:lnTo>
                      <a:pt x="849871" y="1631752"/>
                    </a:lnTo>
                    <a:lnTo>
                      <a:pt x="1135427" y="1359793"/>
                    </a:lnTo>
                    <a:lnTo>
                      <a:pt x="1443647" y="1359793"/>
                    </a:lnTo>
                    <a:lnTo>
                      <a:pt x="1620420" y="1631752"/>
                    </a:lnTo>
                    <a:lnTo>
                      <a:pt x="1783595" y="1359793"/>
                    </a:lnTo>
                    <a:lnTo>
                      <a:pt x="2105413" y="1359793"/>
                    </a:lnTo>
                    <a:lnTo>
                      <a:pt x="2390970" y="1631752"/>
                    </a:lnTo>
                    <a:lnTo>
                      <a:pt x="2390970" y="1359793"/>
                    </a:lnTo>
                    <a:lnTo>
                      <a:pt x="3116193" y="1359793"/>
                    </a:lnTo>
                    <a:cubicBezTo>
                      <a:pt x="3216323" y="1359793"/>
                      <a:pt x="3297498" y="1278618"/>
                      <a:pt x="3297498" y="1178487"/>
                    </a:cubicBezTo>
                    <a:lnTo>
                      <a:pt x="3297498" y="181306"/>
                    </a:lnTo>
                    <a:cubicBezTo>
                      <a:pt x="3297498" y="81173"/>
                      <a:pt x="3216323" y="0"/>
                      <a:pt x="3116193" y="0"/>
                    </a:cubicBezTo>
                    <a:close/>
                    <a:moveTo>
                      <a:pt x="453264" y="407938"/>
                    </a:moveTo>
                    <a:lnTo>
                      <a:pt x="2572275" y="407938"/>
                    </a:lnTo>
                    <a:lnTo>
                      <a:pt x="2572275" y="498591"/>
                    </a:lnTo>
                    <a:lnTo>
                      <a:pt x="453264" y="498591"/>
                    </a:lnTo>
                    <a:close/>
                    <a:moveTo>
                      <a:pt x="2119011" y="951855"/>
                    </a:moveTo>
                    <a:lnTo>
                      <a:pt x="453264" y="951855"/>
                    </a:lnTo>
                    <a:lnTo>
                      <a:pt x="453264" y="861202"/>
                    </a:lnTo>
                    <a:lnTo>
                      <a:pt x="2119011" y="861202"/>
                    </a:lnTo>
                    <a:close/>
                    <a:moveTo>
                      <a:pt x="2844234" y="725223"/>
                    </a:moveTo>
                    <a:lnTo>
                      <a:pt x="453264" y="725223"/>
                    </a:lnTo>
                    <a:lnTo>
                      <a:pt x="453264" y="634570"/>
                    </a:lnTo>
                    <a:lnTo>
                      <a:pt x="2844234" y="634570"/>
                    </a:lnTo>
                    <a:close/>
                  </a:path>
                </a:pathLst>
              </a:custGeom>
              <a:solidFill>
                <a:schemeClr val="accent2"/>
              </a:solidFill>
              <a:ln w="45244" cap="flat">
                <a:noFill/>
                <a:prstDash val="solid"/>
                <a:miter/>
              </a:ln>
            </p:spPr>
            <p:txBody>
              <a:bodyPr rtlCol="0" anchor="ctr"/>
              <a:lstStyle/>
              <a:p>
                <a:endParaRPr lang="en-US"/>
              </a:p>
            </p:txBody>
          </p:sp>
        </p:grpSp>
        <p:grpSp>
          <p:nvGrpSpPr>
            <p:cNvPr id="8" name="Graphic 12" descr="Call center">
              <a:extLst>
                <a:ext uri="{FF2B5EF4-FFF2-40B4-BE49-F238E27FC236}">
                  <a16:creationId xmlns:a16="http://schemas.microsoft.com/office/drawing/2014/main" id="{64F6A73C-AE8D-41B3-3C03-F8E4E009045A}"/>
                </a:ext>
              </a:extLst>
            </p:cNvPr>
            <p:cNvGrpSpPr/>
            <p:nvPr/>
          </p:nvGrpSpPr>
          <p:grpSpPr>
            <a:xfrm>
              <a:off x="5617012" y="3804279"/>
              <a:ext cx="957976" cy="859983"/>
              <a:chOff x="1848908" y="3517790"/>
              <a:chExt cx="957976" cy="859983"/>
            </a:xfrm>
            <a:solidFill>
              <a:srgbClr val="00B050"/>
            </a:solidFill>
          </p:grpSpPr>
          <p:sp>
            <p:nvSpPr>
              <p:cNvPr id="9" name="Freeform: Shape 8">
                <a:extLst>
                  <a:ext uri="{FF2B5EF4-FFF2-40B4-BE49-F238E27FC236}">
                    <a16:creationId xmlns:a16="http://schemas.microsoft.com/office/drawing/2014/main" id="{F1EE5E2C-CADD-A327-CA89-27561316C994}"/>
                  </a:ext>
                </a:extLst>
              </p:cNvPr>
              <p:cNvSpPr/>
              <p:nvPr/>
            </p:nvSpPr>
            <p:spPr>
              <a:xfrm>
                <a:off x="1848908" y="3517790"/>
                <a:ext cx="957976" cy="814387"/>
              </a:xfrm>
              <a:custGeom>
                <a:avLst/>
                <a:gdLst>
                  <a:gd name="connsiteX0" fmla="*/ 42863 w 957976"/>
                  <a:gd name="connsiteY0" fmla="*/ 222885 h 814387"/>
                  <a:gd name="connsiteX1" fmla="*/ 72866 w 957976"/>
                  <a:gd name="connsiteY1" fmla="*/ 210026 h 814387"/>
                  <a:gd name="connsiteX2" fmla="*/ 72866 w 957976"/>
                  <a:gd name="connsiteY2" fmla="*/ 210026 h 814387"/>
                  <a:gd name="connsiteX3" fmla="*/ 377190 w 957976"/>
                  <a:gd name="connsiteY3" fmla="*/ 85725 h 814387"/>
                  <a:gd name="connsiteX4" fmla="*/ 805815 w 957976"/>
                  <a:gd name="connsiteY4" fmla="*/ 514350 h 814387"/>
                  <a:gd name="connsiteX5" fmla="*/ 805815 w 957976"/>
                  <a:gd name="connsiteY5" fmla="*/ 612934 h 814387"/>
                  <a:gd name="connsiteX6" fmla="*/ 559356 w 957976"/>
                  <a:gd name="connsiteY6" fmla="*/ 694373 h 814387"/>
                  <a:gd name="connsiteX7" fmla="*/ 527209 w 957976"/>
                  <a:gd name="connsiteY7" fmla="*/ 685800 h 814387"/>
                  <a:gd name="connsiteX8" fmla="*/ 462915 w 957976"/>
                  <a:gd name="connsiteY8" fmla="*/ 750094 h 814387"/>
                  <a:gd name="connsiteX9" fmla="*/ 527209 w 957976"/>
                  <a:gd name="connsiteY9" fmla="*/ 814388 h 814387"/>
                  <a:gd name="connsiteX10" fmla="*/ 587216 w 957976"/>
                  <a:gd name="connsiteY10" fmla="*/ 775811 h 814387"/>
                  <a:gd name="connsiteX11" fmla="*/ 927973 w 957976"/>
                  <a:gd name="connsiteY11" fmla="*/ 662226 h 814387"/>
                  <a:gd name="connsiteX12" fmla="*/ 957977 w 957976"/>
                  <a:gd name="connsiteY12" fmla="*/ 621506 h 814387"/>
                  <a:gd name="connsiteX13" fmla="*/ 957977 w 957976"/>
                  <a:gd name="connsiteY13" fmla="*/ 428625 h 814387"/>
                  <a:gd name="connsiteX14" fmla="*/ 915114 w 957976"/>
                  <a:gd name="connsiteY14" fmla="*/ 385763 h 814387"/>
                  <a:gd name="connsiteX15" fmla="*/ 876538 w 957976"/>
                  <a:gd name="connsiteY15" fmla="*/ 385763 h 814387"/>
                  <a:gd name="connsiteX16" fmla="*/ 377190 w 957976"/>
                  <a:gd name="connsiteY16" fmla="*/ 0 h 814387"/>
                  <a:gd name="connsiteX17" fmla="*/ 17145 w 957976"/>
                  <a:gd name="connsiteY17" fmla="*/ 145732 h 814387"/>
                  <a:gd name="connsiteX18" fmla="*/ 0 w 957976"/>
                  <a:gd name="connsiteY18" fmla="*/ 180022 h 814387"/>
                  <a:gd name="connsiteX19" fmla="*/ 42863 w 957976"/>
                  <a:gd name="connsiteY19" fmla="*/ 222885 h 81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7976" h="814387">
                    <a:moveTo>
                      <a:pt x="42863" y="222885"/>
                    </a:moveTo>
                    <a:cubicBezTo>
                      <a:pt x="55721" y="222885"/>
                      <a:pt x="66437" y="218599"/>
                      <a:pt x="72866" y="210026"/>
                    </a:cubicBezTo>
                    <a:lnTo>
                      <a:pt x="72866" y="210026"/>
                    </a:lnTo>
                    <a:cubicBezTo>
                      <a:pt x="152162" y="132874"/>
                      <a:pt x="259318" y="85725"/>
                      <a:pt x="377190" y="85725"/>
                    </a:cubicBezTo>
                    <a:cubicBezTo>
                      <a:pt x="612934" y="85725"/>
                      <a:pt x="805815" y="278606"/>
                      <a:pt x="805815" y="514350"/>
                    </a:cubicBezTo>
                    <a:lnTo>
                      <a:pt x="805815" y="612934"/>
                    </a:lnTo>
                    <a:lnTo>
                      <a:pt x="559356" y="694373"/>
                    </a:lnTo>
                    <a:cubicBezTo>
                      <a:pt x="548640" y="690086"/>
                      <a:pt x="537924" y="685800"/>
                      <a:pt x="527209" y="685800"/>
                    </a:cubicBezTo>
                    <a:cubicBezTo>
                      <a:pt x="490776" y="685800"/>
                      <a:pt x="462915" y="713661"/>
                      <a:pt x="462915" y="750094"/>
                    </a:cubicBezTo>
                    <a:cubicBezTo>
                      <a:pt x="462915" y="786527"/>
                      <a:pt x="490776" y="814388"/>
                      <a:pt x="527209" y="814388"/>
                    </a:cubicBezTo>
                    <a:cubicBezTo>
                      <a:pt x="552926" y="814388"/>
                      <a:pt x="576501" y="799386"/>
                      <a:pt x="587216" y="775811"/>
                    </a:cubicBezTo>
                    <a:lnTo>
                      <a:pt x="927973" y="662226"/>
                    </a:lnTo>
                    <a:cubicBezTo>
                      <a:pt x="945118" y="655796"/>
                      <a:pt x="957977" y="640794"/>
                      <a:pt x="957977" y="621506"/>
                    </a:cubicBezTo>
                    <a:lnTo>
                      <a:pt x="957977" y="428625"/>
                    </a:lnTo>
                    <a:cubicBezTo>
                      <a:pt x="957977" y="405051"/>
                      <a:pt x="938689" y="385763"/>
                      <a:pt x="915114" y="385763"/>
                    </a:cubicBezTo>
                    <a:lnTo>
                      <a:pt x="876538" y="385763"/>
                    </a:lnTo>
                    <a:cubicBezTo>
                      <a:pt x="818674" y="165021"/>
                      <a:pt x="617220" y="0"/>
                      <a:pt x="377190" y="0"/>
                    </a:cubicBezTo>
                    <a:cubicBezTo>
                      <a:pt x="237887" y="0"/>
                      <a:pt x="111442" y="55721"/>
                      <a:pt x="17145" y="145732"/>
                    </a:cubicBezTo>
                    <a:cubicBezTo>
                      <a:pt x="6429" y="154305"/>
                      <a:pt x="0" y="165021"/>
                      <a:pt x="0" y="180022"/>
                    </a:cubicBezTo>
                    <a:cubicBezTo>
                      <a:pt x="0" y="203597"/>
                      <a:pt x="19288" y="222885"/>
                      <a:pt x="42863" y="222885"/>
                    </a:cubicBezTo>
                    <a:close/>
                  </a:path>
                </a:pathLst>
              </a:custGeom>
              <a:solidFill>
                <a:schemeClr val="tx1"/>
              </a:solidFill>
              <a:ln w="2143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16E25F2D-1C63-E645-ADC6-57858DF3C991}"/>
                  </a:ext>
                </a:extLst>
              </p:cNvPr>
              <p:cNvSpPr/>
              <p:nvPr/>
            </p:nvSpPr>
            <p:spPr>
              <a:xfrm>
                <a:off x="1883199" y="3691973"/>
                <a:ext cx="685800" cy="685800"/>
              </a:xfrm>
              <a:custGeom>
                <a:avLst/>
                <a:gdLst>
                  <a:gd name="connsiteX0" fmla="*/ 683657 w 685800"/>
                  <a:gd name="connsiteY0" fmla="*/ 379333 h 685800"/>
                  <a:gd name="connsiteX1" fmla="*/ 685800 w 685800"/>
                  <a:gd name="connsiteY1" fmla="*/ 342900 h 685800"/>
                  <a:gd name="connsiteX2" fmla="*/ 342900 w 685800"/>
                  <a:gd name="connsiteY2" fmla="*/ 0 h 685800"/>
                  <a:gd name="connsiteX3" fmla="*/ 0 w 685800"/>
                  <a:gd name="connsiteY3" fmla="*/ 342900 h 685800"/>
                  <a:gd name="connsiteX4" fmla="*/ 342900 w 685800"/>
                  <a:gd name="connsiteY4" fmla="*/ 685800 h 685800"/>
                  <a:gd name="connsiteX5" fmla="*/ 364331 w 685800"/>
                  <a:gd name="connsiteY5" fmla="*/ 683657 h 685800"/>
                  <a:gd name="connsiteX6" fmla="*/ 364331 w 685800"/>
                  <a:gd name="connsiteY6" fmla="*/ 578644 h 685800"/>
                  <a:gd name="connsiteX7" fmla="*/ 364331 w 685800"/>
                  <a:gd name="connsiteY7" fmla="*/ 578644 h 685800"/>
                  <a:gd name="connsiteX8" fmla="*/ 377190 w 685800"/>
                  <a:gd name="connsiteY8" fmla="*/ 520779 h 685800"/>
                  <a:gd name="connsiteX9" fmla="*/ 452199 w 685800"/>
                  <a:gd name="connsiteY9" fmla="*/ 456486 h 685800"/>
                  <a:gd name="connsiteX10" fmla="*/ 683657 w 685800"/>
                  <a:gd name="connsiteY10" fmla="*/ 379333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5800" h="685800">
                    <a:moveTo>
                      <a:pt x="683657" y="379333"/>
                    </a:moveTo>
                    <a:cubicBezTo>
                      <a:pt x="685800" y="366474"/>
                      <a:pt x="685800" y="355759"/>
                      <a:pt x="685800" y="342900"/>
                    </a:cubicBezTo>
                    <a:cubicBezTo>
                      <a:pt x="685800" y="154305"/>
                      <a:pt x="531495" y="0"/>
                      <a:pt x="342900" y="0"/>
                    </a:cubicBezTo>
                    <a:cubicBezTo>
                      <a:pt x="154305" y="0"/>
                      <a:pt x="0" y="154305"/>
                      <a:pt x="0" y="342900"/>
                    </a:cubicBezTo>
                    <a:cubicBezTo>
                      <a:pt x="0" y="531495"/>
                      <a:pt x="154305" y="685800"/>
                      <a:pt x="342900" y="685800"/>
                    </a:cubicBezTo>
                    <a:cubicBezTo>
                      <a:pt x="349329" y="685800"/>
                      <a:pt x="357902" y="685800"/>
                      <a:pt x="364331" y="683657"/>
                    </a:cubicBezTo>
                    <a:lnTo>
                      <a:pt x="364331" y="578644"/>
                    </a:lnTo>
                    <a:lnTo>
                      <a:pt x="364331" y="578644"/>
                    </a:lnTo>
                    <a:cubicBezTo>
                      <a:pt x="364331" y="559356"/>
                      <a:pt x="368618" y="540068"/>
                      <a:pt x="377190" y="520779"/>
                    </a:cubicBezTo>
                    <a:cubicBezTo>
                      <a:pt x="392192" y="490776"/>
                      <a:pt x="417909" y="467201"/>
                      <a:pt x="452199" y="456486"/>
                    </a:cubicBezTo>
                    <a:lnTo>
                      <a:pt x="683657" y="379333"/>
                    </a:lnTo>
                    <a:close/>
                  </a:path>
                </a:pathLst>
              </a:custGeom>
              <a:grpFill/>
              <a:ln w="21431" cap="flat">
                <a:noFill/>
                <a:prstDash val="solid"/>
                <a:miter/>
              </a:ln>
            </p:spPr>
            <p:txBody>
              <a:bodyPr rtlCol="0" anchor="ctr"/>
              <a:lstStyle/>
              <a:p>
                <a:endParaRPr lang="en-US"/>
              </a:p>
            </p:txBody>
          </p:sp>
        </p:grpSp>
      </p:grpSp>
      <p:sp>
        <p:nvSpPr>
          <p:cNvPr id="17" name="TextBox 16">
            <a:extLst>
              <a:ext uri="{FF2B5EF4-FFF2-40B4-BE49-F238E27FC236}">
                <a16:creationId xmlns:a16="http://schemas.microsoft.com/office/drawing/2014/main" id="{EB1DD060-2EAD-840E-A96E-B957D8A44268}"/>
              </a:ext>
            </a:extLst>
          </p:cNvPr>
          <p:cNvSpPr txBox="1"/>
          <p:nvPr/>
        </p:nvSpPr>
        <p:spPr>
          <a:xfrm>
            <a:off x="3613646" y="5671541"/>
            <a:ext cx="6551010" cy="954107"/>
          </a:xfrm>
          <a:prstGeom prst="rect">
            <a:avLst/>
          </a:prstGeom>
          <a:noFill/>
        </p:spPr>
        <p:txBody>
          <a:bodyPr wrap="square" rtlCol="0">
            <a:spAutoFit/>
          </a:bodyPr>
          <a:lstStyle/>
          <a:p>
            <a:pPr algn="ctr"/>
            <a:r>
              <a:rPr lang="en-US" sz="2000" b="1">
                <a:solidFill>
                  <a:schemeClr val="accent1"/>
                </a:solidFill>
              </a:rPr>
              <a:t>Dr. Xóchitl Anabel Rocha</a:t>
            </a:r>
          </a:p>
          <a:p>
            <a:pPr algn="ctr"/>
            <a:r>
              <a:rPr lang="en-US"/>
              <a:t>Bilingual Programs, Policy, and Technical Assistance Manager </a:t>
            </a:r>
          </a:p>
          <a:p>
            <a:pPr algn="ctr"/>
            <a:r>
              <a:rPr lang="en-US"/>
              <a:t>Xochitl.rocha@tea.texas.gov</a:t>
            </a:r>
          </a:p>
        </p:txBody>
      </p:sp>
    </p:spTree>
    <p:extLst>
      <p:ext uri="{BB962C8B-B14F-4D97-AF65-F5344CB8AC3E}">
        <p14:creationId xmlns:p14="http://schemas.microsoft.com/office/powerpoint/2010/main" val="2528339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1BB28DAB-46B4-4200-AFCC-0E29D37CC17B}"/>
              </a:ext>
            </a:extLst>
          </p:cNvPr>
          <p:cNvSpPr txBox="1">
            <a:spLocks/>
          </p:cNvSpPr>
          <p:nvPr/>
        </p:nvSpPr>
        <p:spPr>
          <a:xfrm>
            <a:off x="9210675" y="6551704"/>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9C126A4-BD19-47E2-8A0E-0DE1B9D8C925}" type="slidenum">
              <a:rPr lang="en-US" sz="1200" smtClean="0">
                <a:solidFill>
                  <a:schemeClr val="tx1">
                    <a:lumMod val="50000"/>
                    <a:lumOff val="50000"/>
                  </a:schemeClr>
                </a:solidFill>
              </a:rPr>
              <a:pPr algn="r"/>
              <a:t>2</a:t>
            </a:fld>
            <a:endParaRPr lang="en-US" sz="1200">
              <a:solidFill>
                <a:schemeClr val="tx1">
                  <a:lumMod val="50000"/>
                  <a:lumOff val="50000"/>
                </a:schemeClr>
              </a:solidFill>
            </a:endParaRPr>
          </a:p>
        </p:txBody>
      </p:sp>
      <p:sp>
        <p:nvSpPr>
          <p:cNvPr id="7" name="Title 6">
            <a:extLst>
              <a:ext uri="{FF2B5EF4-FFF2-40B4-BE49-F238E27FC236}">
                <a16:creationId xmlns:a16="http://schemas.microsoft.com/office/drawing/2014/main" id="{DFF73450-36B1-93B8-B1C0-27C2ACAB3AC2}"/>
              </a:ext>
            </a:extLst>
          </p:cNvPr>
          <p:cNvSpPr>
            <a:spLocks noGrp="1"/>
          </p:cNvSpPr>
          <p:nvPr>
            <p:ph type="title"/>
          </p:nvPr>
        </p:nvSpPr>
        <p:spPr>
          <a:xfrm>
            <a:off x="612370" y="306295"/>
            <a:ext cx="11121657" cy="751350"/>
          </a:xfrm>
        </p:spPr>
        <p:txBody>
          <a:bodyPr/>
          <a:lstStyle/>
          <a:p>
            <a:r>
              <a:rPr lang="en-US">
                <a:solidFill>
                  <a:schemeClr val="accent1">
                    <a:lumMod val="75000"/>
                  </a:schemeClr>
                </a:solidFill>
              </a:rPr>
              <a:t>Our Goal Is…</a:t>
            </a:r>
          </a:p>
        </p:txBody>
      </p:sp>
      <p:sp>
        <p:nvSpPr>
          <p:cNvPr id="5" name="Content Placeholder 4">
            <a:extLst>
              <a:ext uri="{FF2B5EF4-FFF2-40B4-BE49-F238E27FC236}">
                <a16:creationId xmlns:a16="http://schemas.microsoft.com/office/drawing/2014/main" id="{614BF046-993F-DC8A-27B6-962984CC4403}"/>
              </a:ext>
            </a:extLst>
          </p:cNvPr>
          <p:cNvSpPr>
            <a:spLocks noGrp="1"/>
          </p:cNvSpPr>
          <p:nvPr>
            <p:ph idx="1"/>
          </p:nvPr>
        </p:nvSpPr>
        <p:spPr>
          <a:xfrm>
            <a:off x="612370" y="1399938"/>
            <a:ext cx="7733608" cy="3170461"/>
          </a:xfrm>
          <a:prstGeom prst="rect">
            <a:avLst/>
          </a:prstGeom>
          <a:solidFill>
            <a:schemeClr val="accent1"/>
          </a:solidFill>
        </p:spPr>
        <p:txBody>
          <a:bodyPr/>
          <a:lstStyle/>
          <a:p>
            <a:pPr marL="0" indent="0">
              <a:lnSpc>
                <a:spcPct val="100000"/>
              </a:lnSpc>
              <a:buNone/>
            </a:pPr>
            <a:r>
              <a:rPr lang="en-US" sz="2800" i="1" u="none" strike="noStrike">
                <a:solidFill>
                  <a:schemeClr val="bg1"/>
                </a:solidFill>
                <a:effectLst/>
                <a:latin typeface="+mj-lt"/>
              </a:rPr>
              <a:t>At the blueprint level, we will lead the state by developing guidance, tools and resources that bring intentionality and focus to emergent bilingual students and ensure their access to high quality programs and instruction which lead to positive academic success.</a:t>
            </a:r>
            <a:r>
              <a:rPr lang="en-US" sz="2800" i="1">
                <a:solidFill>
                  <a:schemeClr val="bg1"/>
                </a:solidFill>
                <a:effectLst/>
                <a:latin typeface="+mj-lt"/>
              </a:rPr>
              <a:t>​</a:t>
            </a:r>
            <a:endParaRPr lang="en-US" sz="2800" i="1">
              <a:solidFill>
                <a:schemeClr val="bg1"/>
              </a:solidFill>
              <a:latin typeface="+mj-lt"/>
            </a:endParaRPr>
          </a:p>
          <a:p>
            <a:endParaRPr lang="en-US">
              <a:solidFill>
                <a:schemeClr val="bg1"/>
              </a:solidFill>
            </a:endParaRPr>
          </a:p>
        </p:txBody>
      </p:sp>
      <p:pic>
        <p:nvPicPr>
          <p:cNvPr id="1034" name="Picture 10" descr="symposium site">
            <a:extLst>
              <a:ext uri="{FF2B5EF4-FFF2-40B4-BE49-F238E27FC236}">
                <a16:creationId xmlns:a16="http://schemas.microsoft.com/office/drawing/2014/main" id="{82D98EA2-22B9-A485-E283-048C6E01F5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3400" y="2840183"/>
            <a:ext cx="3358258" cy="2815385"/>
          </a:xfrm>
          <a:prstGeom prst="rect">
            <a:avLst/>
          </a:prstGeom>
          <a:solidFill>
            <a:srgbClr val="FFFFFF">
              <a:shade val="85000"/>
            </a:srgbClr>
          </a:solidFill>
          <a:ln w="190500" cap="sq">
            <a:solidFill>
              <a:srgbClr val="FFC000"/>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Footer Placeholder 1">
            <a:extLst>
              <a:ext uri="{FF2B5EF4-FFF2-40B4-BE49-F238E27FC236}">
                <a16:creationId xmlns:a16="http://schemas.microsoft.com/office/drawing/2014/main" id="{28F4AEA0-82E5-4E0F-DAE9-5AE9207D9571}"/>
              </a:ext>
            </a:extLst>
          </p:cNvPr>
          <p:cNvSpPr>
            <a:spLocks noGrp="1"/>
          </p:cNvSpPr>
          <p:nvPr>
            <p:ph type="ftr" sz="quarter" idx="3"/>
          </p:nvPr>
        </p:nvSpPr>
        <p:spPr>
          <a:xfrm>
            <a:off x="4038600" y="6551704"/>
            <a:ext cx="4114800" cy="365125"/>
          </a:xfrm>
        </p:spPr>
        <p:txBody>
          <a:bodyPr/>
          <a:lstStyle/>
          <a:p>
            <a:r>
              <a:rPr lang="en-US">
                <a:solidFill>
                  <a:schemeClr val="tx1"/>
                </a:solidFill>
              </a:rPr>
              <a:t>Emergent Bilingual Support Division  |  TEA  2023</a:t>
            </a:r>
            <a:endParaRPr lang="en-US"/>
          </a:p>
        </p:txBody>
      </p:sp>
    </p:spTree>
    <p:extLst>
      <p:ext uri="{BB962C8B-B14F-4D97-AF65-F5344CB8AC3E}">
        <p14:creationId xmlns:p14="http://schemas.microsoft.com/office/powerpoint/2010/main" val="2507713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7DA208-A351-1B8C-58EC-08B806927B42}"/>
              </a:ext>
            </a:extLst>
          </p:cNvPr>
          <p:cNvSpPr>
            <a:spLocks noGrp="1"/>
          </p:cNvSpPr>
          <p:nvPr>
            <p:ph type="ftr" sz="quarter" idx="11"/>
          </p:nvPr>
        </p:nvSpPr>
        <p:spPr>
          <a:xfrm>
            <a:off x="4038600" y="6492874"/>
            <a:ext cx="4114800" cy="365125"/>
          </a:xfrm>
        </p:spPr>
        <p:txBody>
          <a:bodyPr vert="horz" lIns="91440" tIns="45720" rIns="91440" bIns="45720" rtlCol="0" anchor="ctr">
            <a:normAutofit/>
          </a:bodyPr>
          <a:lstStyle/>
          <a:p>
            <a:pPr>
              <a:spcAft>
                <a:spcPts val="600"/>
              </a:spcAft>
            </a:pPr>
            <a:r>
              <a:rPr lang="en-US" kern="1200">
                <a:latin typeface="+mn-lt"/>
                <a:ea typeface="+mn-ea"/>
                <a:cs typeface="+mn-cs"/>
              </a:rPr>
              <a:t>Emergent Bilingual Support Division  |  TEA  2023</a:t>
            </a:r>
          </a:p>
        </p:txBody>
      </p:sp>
      <p:sp>
        <p:nvSpPr>
          <p:cNvPr id="5" name="Slide Number Placeholder 4">
            <a:extLst>
              <a:ext uri="{FF2B5EF4-FFF2-40B4-BE49-F238E27FC236}">
                <a16:creationId xmlns:a16="http://schemas.microsoft.com/office/drawing/2014/main" id="{23B58B4E-A58C-C307-5CFA-B585E3FC5BE7}"/>
              </a:ext>
            </a:extLst>
          </p:cNvPr>
          <p:cNvSpPr>
            <a:spLocks noGrp="1"/>
          </p:cNvSpPr>
          <p:nvPr>
            <p:ph type="sldNum" sz="quarter" idx="12"/>
          </p:nvPr>
        </p:nvSpPr>
        <p:spPr>
          <a:xfrm>
            <a:off x="9210675" y="6492873"/>
            <a:ext cx="2743200" cy="365125"/>
          </a:xfrm>
        </p:spPr>
        <p:txBody>
          <a:bodyPr vert="horz" lIns="91440" tIns="45720" rIns="91440" bIns="45720" rtlCol="0" anchor="ctr">
            <a:normAutofit/>
          </a:bodyPr>
          <a:lstStyle/>
          <a:p>
            <a:pPr>
              <a:spcAft>
                <a:spcPts val="600"/>
              </a:spcAft>
            </a:pPr>
            <a:fld id="{69C126A4-BD19-47E2-8A0E-0DE1B9D8C925}" type="slidenum">
              <a:rPr lang="en-US" smtClean="0"/>
              <a:pPr>
                <a:spcAft>
                  <a:spcPts val="600"/>
                </a:spcAft>
              </a:pPr>
              <a:t>3</a:t>
            </a:fld>
            <a:endParaRPr lang="en-US"/>
          </a:p>
        </p:txBody>
      </p:sp>
      <p:sp>
        <p:nvSpPr>
          <p:cNvPr id="7" name="TextBox 6">
            <a:extLst>
              <a:ext uri="{FF2B5EF4-FFF2-40B4-BE49-F238E27FC236}">
                <a16:creationId xmlns:a16="http://schemas.microsoft.com/office/drawing/2014/main" id="{C437280A-C442-16D1-ED74-4D50CCA09711}"/>
              </a:ext>
            </a:extLst>
          </p:cNvPr>
          <p:cNvSpPr txBox="1"/>
          <p:nvPr/>
        </p:nvSpPr>
        <p:spPr>
          <a:xfrm>
            <a:off x="2320118" y="1495651"/>
            <a:ext cx="4462819" cy="4351338"/>
          </a:xfrm>
          <a:prstGeom prst="rect">
            <a:avLst/>
          </a:prstGeom>
        </p:spPr>
        <p:txBody>
          <a:bodyPr rtlCol="0">
            <a:normAutofit/>
          </a:bodyPr>
          <a:lstStyle/>
          <a:p>
            <a:pPr marL="342900" indent="-228600">
              <a:lnSpc>
                <a:spcPct val="90000"/>
              </a:lnSpc>
              <a:spcAft>
                <a:spcPts val="600"/>
              </a:spcAft>
              <a:buClr>
                <a:schemeClr val="accent2"/>
              </a:buClr>
              <a:buFont typeface="Wingdings" panose="05000000000000000000" pitchFamily="2" charset="2"/>
              <a:buChar char="§"/>
            </a:pPr>
            <a:r>
              <a:rPr lang="en-US" sz="2800">
                <a:solidFill>
                  <a:schemeClr val="accent1"/>
                </a:solidFill>
              </a:rPr>
              <a:t>Welcome </a:t>
            </a:r>
          </a:p>
          <a:p>
            <a:pPr marL="342900" indent="-228600">
              <a:lnSpc>
                <a:spcPct val="90000"/>
              </a:lnSpc>
              <a:spcAft>
                <a:spcPts val="600"/>
              </a:spcAft>
              <a:buClr>
                <a:schemeClr val="accent2"/>
              </a:buClr>
              <a:buFont typeface="Wingdings" panose="05000000000000000000" pitchFamily="2" charset="2"/>
              <a:buChar char="§"/>
            </a:pPr>
            <a:r>
              <a:rPr lang="en-US" sz="2800">
                <a:solidFill>
                  <a:schemeClr val="accent1"/>
                </a:solidFill>
              </a:rPr>
              <a:t>Senate Bill 560</a:t>
            </a:r>
          </a:p>
          <a:p>
            <a:pPr marL="342900" indent="-228600">
              <a:lnSpc>
                <a:spcPct val="90000"/>
              </a:lnSpc>
              <a:spcAft>
                <a:spcPts val="600"/>
              </a:spcAft>
              <a:buClr>
                <a:schemeClr val="accent2"/>
              </a:buClr>
              <a:buFont typeface="Wingdings" panose="05000000000000000000" pitchFamily="2" charset="2"/>
              <a:buChar char="§"/>
            </a:pPr>
            <a:r>
              <a:rPr lang="en-US" sz="2800">
                <a:solidFill>
                  <a:schemeClr val="accent1"/>
                </a:solidFill>
              </a:rPr>
              <a:t>Updates on TAC Ch. 89</a:t>
            </a:r>
          </a:p>
          <a:p>
            <a:pPr marL="342900" indent="-228600">
              <a:lnSpc>
                <a:spcPct val="90000"/>
              </a:lnSpc>
              <a:spcAft>
                <a:spcPts val="600"/>
              </a:spcAft>
              <a:buClr>
                <a:schemeClr val="accent2"/>
              </a:buClr>
              <a:buFont typeface="Wingdings" panose="05000000000000000000" pitchFamily="2" charset="2"/>
              <a:buChar char="§"/>
            </a:pPr>
            <a:r>
              <a:rPr lang="en-US" sz="2800">
                <a:solidFill>
                  <a:schemeClr val="accent1"/>
                </a:solidFill>
              </a:rPr>
              <a:t>LPAC: TEA Developed Forms </a:t>
            </a:r>
          </a:p>
          <a:p>
            <a:pPr marL="800100" lvl="1" indent="-228600">
              <a:lnSpc>
                <a:spcPct val="90000"/>
              </a:lnSpc>
              <a:spcAft>
                <a:spcPts val="600"/>
              </a:spcAft>
              <a:buClr>
                <a:schemeClr val="accent2"/>
              </a:buClr>
              <a:buFont typeface="Wingdings" panose="05000000000000000000" pitchFamily="2" charset="2"/>
              <a:buChar char="§"/>
            </a:pPr>
            <a:r>
              <a:rPr lang="en-US" sz="2800">
                <a:solidFill>
                  <a:schemeClr val="accent1"/>
                </a:solidFill>
              </a:rPr>
              <a:t>Home Language Survey (HLS)  </a:t>
            </a:r>
          </a:p>
          <a:p>
            <a:pPr marL="342900" indent="-228600">
              <a:lnSpc>
                <a:spcPct val="90000"/>
              </a:lnSpc>
              <a:spcAft>
                <a:spcPts val="600"/>
              </a:spcAft>
              <a:buClr>
                <a:schemeClr val="accent2"/>
              </a:buClr>
              <a:buFont typeface="Wingdings" panose="05000000000000000000" pitchFamily="2" charset="2"/>
              <a:buChar char="§"/>
            </a:pPr>
            <a:r>
              <a:rPr lang="en-US" sz="2800">
                <a:solidFill>
                  <a:schemeClr val="accent1"/>
                </a:solidFill>
              </a:rPr>
              <a:t>Reflections and Closing  </a:t>
            </a:r>
          </a:p>
        </p:txBody>
      </p:sp>
      <p:pic>
        <p:nvPicPr>
          <p:cNvPr id="9" name="Picture 8">
            <a:extLst>
              <a:ext uri="{FF2B5EF4-FFF2-40B4-BE49-F238E27FC236}">
                <a16:creationId xmlns:a16="http://schemas.microsoft.com/office/drawing/2014/main" id="{37D13E68-2908-64C8-FC16-929FA0EB1964}"/>
              </a:ext>
            </a:extLst>
          </p:cNvPr>
          <p:cNvPicPr>
            <a:picLocks noChangeAspect="1"/>
          </p:cNvPicPr>
          <p:nvPr/>
        </p:nvPicPr>
        <p:blipFill rotWithShape="1">
          <a:blip r:embed="rId3"/>
          <a:srcRect l="27519" r="4020" b="-1"/>
          <a:stretch/>
        </p:blipFill>
        <p:spPr>
          <a:xfrm rot="21600000">
            <a:off x="7077078" y="1478675"/>
            <a:ext cx="4462819" cy="4351338"/>
          </a:xfrm>
          <a:prstGeom prst="rect">
            <a:avLst/>
          </a:prstGeom>
          <a:noFill/>
          <a:ln w="88900" cap="sq">
            <a:solidFill>
              <a:srgbClr val="FFFFFF"/>
            </a:solidFill>
            <a:miter lim="800000"/>
          </a:ln>
          <a:effectLst>
            <a:outerShdw blurRad="254000" algn="tl" rotWithShape="0">
              <a:srgbClr val="000000">
                <a:alpha val="43000"/>
              </a:srgbClr>
            </a:outerShdw>
          </a:effectLst>
        </p:spPr>
      </p:pic>
      <p:sp>
        <p:nvSpPr>
          <p:cNvPr id="6" name="Title 5">
            <a:extLst>
              <a:ext uri="{FF2B5EF4-FFF2-40B4-BE49-F238E27FC236}">
                <a16:creationId xmlns:a16="http://schemas.microsoft.com/office/drawing/2014/main" id="{564AE702-8ABB-91BC-38F3-F8CD8338E5BD}"/>
              </a:ext>
            </a:extLst>
          </p:cNvPr>
          <p:cNvSpPr>
            <a:spLocks noGrp="1"/>
          </p:cNvSpPr>
          <p:nvPr>
            <p:ph type="title"/>
          </p:nvPr>
        </p:nvSpPr>
        <p:spPr>
          <a:xfrm>
            <a:off x="2212290" y="199694"/>
            <a:ext cx="9515883" cy="542429"/>
          </a:xfrm>
        </p:spPr>
        <p:txBody>
          <a:bodyPr vert="horz" lIns="91440" tIns="45720" rIns="91440" bIns="45720" rtlCol="0" anchor="ctr">
            <a:normAutofit/>
          </a:bodyPr>
          <a:lstStyle/>
          <a:p>
            <a:r>
              <a:rPr lang="en-US" sz="3100" b="1" kern="1200">
                <a:latin typeface="+mn-lt"/>
                <a:ea typeface="+mj-ea"/>
                <a:cs typeface="+mj-cs"/>
              </a:rPr>
              <a:t>Objectives </a:t>
            </a:r>
          </a:p>
        </p:txBody>
      </p:sp>
    </p:spTree>
    <p:extLst>
      <p:ext uri="{BB962C8B-B14F-4D97-AF65-F5344CB8AC3E}">
        <p14:creationId xmlns:p14="http://schemas.microsoft.com/office/powerpoint/2010/main" val="1222515484"/>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2D6B8-DFF1-6A53-A83D-0E8DA2A9CE59}"/>
              </a:ext>
            </a:extLst>
          </p:cNvPr>
          <p:cNvSpPr>
            <a:spLocks noGrp="1"/>
          </p:cNvSpPr>
          <p:nvPr>
            <p:ph type="title"/>
          </p:nvPr>
        </p:nvSpPr>
        <p:spPr>
          <a:xfrm>
            <a:off x="2473087" y="196966"/>
            <a:ext cx="11121657" cy="751350"/>
          </a:xfrm>
        </p:spPr>
        <p:txBody>
          <a:bodyPr anchor="ctr">
            <a:normAutofit/>
          </a:bodyPr>
          <a:lstStyle/>
          <a:p>
            <a:r>
              <a:rPr lang="en-US"/>
              <a:t>Improving Bilingual Education</a:t>
            </a:r>
          </a:p>
        </p:txBody>
      </p:sp>
      <p:sp>
        <p:nvSpPr>
          <p:cNvPr id="4" name="Content Placeholder 3">
            <a:extLst>
              <a:ext uri="{FF2B5EF4-FFF2-40B4-BE49-F238E27FC236}">
                <a16:creationId xmlns:a16="http://schemas.microsoft.com/office/drawing/2014/main" id="{708B4DE8-BA9C-EF28-BE65-6EF26FFBB39F}"/>
              </a:ext>
            </a:extLst>
          </p:cNvPr>
          <p:cNvSpPr>
            <a:spLocks noGrp="1"/>
          </p:cNvSpPr>
          <p:nvPr>
            <p:ph idx="1"/>
          </p:nvPr>
        </p:nvSpPr>
        <p:spPr>
          <a:xfrm>
            <a:off x="398055" y="1609274"/>
            <a:ext cx="5383620" cy="4351338"/>
          </a:xfrm>
        </p:spPr>
        <p:txBody>
          <a:bodyPr lIns="91440" tIns="45720" rIns="91440" bIns="45720">
            <a:normAutofit fontScale="85000" lnSpcReduction="20000"/>
          </a:bodyPr>
          <a:lstStyle/>
          <a:p>
            <a:pPr marL="514350" indent="-514350">
              <a:buAutoNum type="arabicParenR"/>
            </a:pPr>
            <a:r>
              <a:rPr lang="en-US"/>
              <a:t>Increase the number of bilingual certified teachers </a:t>
            </a:r>
          </a:p>
          <a:p>
            <a:pPr marL="514350" indent="-514350">
              <a:buAutoNum type="arabicParenR"/>
            </a:pPr>
            <a:r>
              <a:rPr lang="en-US">
                <a:solidFill>
                  <a:srgbClr val="0070C0"/>
                </a:solidFill>
              </a:rPr>
              <a:t>Increase the number of dual language one-way and two-way programs</a:t>
            </a:r>
          </a:p>
          <a:p>
            <a:pPr marL="514350" indent="-514350">
              <a:buAutoNum type="arabicParenR"/>
            </a:pPr>
            <a:r>
              <a:rPr lang="en-US"/>
              <a:t>Educate families and educators on the benefits of bilingualism </a:t>
            </a:r>
          </a:p>
          <a:p>
            <a:pPr marL="514350" indent="-514350">
              <a:buAutoNum type="arabicParenR"/>
            </a:pPr>
            <a:r>
              <a:rPr lang="en-US" b="1">
                <a:solidFill>
                  <a:schemeClr val="accent2"/>
                </a:solidFill>
              </a:rPr>
              <a:t>Adopt a </a:t>
            </a:r>
            <a:r>
              <a:rPr lang="en-US" b="1" u="sng">
                <a:solidFill>
                  <a:schemeClr val="accent2"/>
                </a:solidFill>
              </a:rPr>
              <a:t>uniform</a:t>
            </a:r>
            <a:r>
              <a:rPr lang="en-US" b="1">
                <a:solidFill>
                  <a:schemeClr val="accent2"/>
                </a:solidFill>
              </a:rPr>
              <a:t> process for identifying emergent bilingual students and monitoring their bilingual learning with meaningful data sources </a:t>
            </a:r>
          </a:p>
          <a:p>
            <a:pPr marL="514350" indent="-514350">
              <a:buAutoNum type="arabicParenR"/>
            </a:pPr>
            <a:r>
              <a:rPr lang="en-US"/>
              <a:t>Increase the number of bilingual and multilingual graduates </a:t>
            </a:r>
          </a:p>
        </p:txBody>
      </p:sp>
      <p:sp>
        <p:nvSpPr>
          <p:cNvPr id="5" name="Slide Number Placeholder 4">
            <a:extLst>
              <a:ext uri="{FF2B5EF4-FFF2-40B4-BE49-F238E27FC236}">
                <a16:creationId xmlns:a16="http://schemas.microsoft.com/office/drawing/2014/main" id="{918DDF9A-08B9-5BCE-5367-FF3DF8952832}"/>
              </a:ext>
            </a:extLst>
          </p:cNvPr>
          <p:cNvSpPr>
            <a:spLocks noGrp="1"/>
          </p:cNvSpPr>
          <p:nvPr>
            <p:ph type="sldNum" sz="quarter" idx="4"/>
          </p:nvPr>
        </p:nvSpPr>
        <p:spPr>
          <a:xfrm>
            <a:off x="9210675" y="6529126"/>
            <a:ext cx="2743200" cy="365125"/>
          </a:xfrm>
        </p:spPr>
        <p:txBody>
          <a:bodyPr anchor="ctr">
            <a:normAutofit/>
          </a:bodyPr>
          <a:lstStyle/>
          <a:p>
            <a:pPr>
              <a:spcAft>
                <a:spcPts val="600"/>
              </a:spcAft>
            </a:pPr>
            <a:fld id="{69C126A4-BD19-47E2-8A0E-0DE1B9D8C925}" type="slidenum">
              <a:rPr lang="en-US" smtClean="0"/>
              <a:pPr>
                <a:spcAft>
                  <a:spcPts val="600"/>
                </a:spcAft>
              </a:pPr>
              <a:t>4</a:t>
            </a:fld>
            <a:endParaRPr lang="en-US"/>
          </a:p>
        </p:txBody>
      </p:sp>
      <p:pic>
        <p:nvPicPr>
          <p:cNvPr id="7" name="Picture 6" descr="Graphical user interface, application&#10;&#10;Description automatically generated">
            <a:hlinkClick r:id="rId3"/>
            <a:extLst>
              <a:ext uri="{FF2B5EF4-FFF2-40B4-BE49-F238E27FC236}">
                <a16:creationId xmlns:a16="http://schemas.microsoft.com/office/drawing/2014/main" id="{CC30F78F-F35C-EBD9-3150-D3469C80BDC4}"/>
              </a:ext>
            </a:extLst>
          </p:cNvPr>
          <p:cNvPicPr>
            <a:picLocks noChangeAspect="1"/>
          </p:cNvPicPr>
          <p:nvPr/>
        </p:nvPicPr>
        <p:blipFill rotWithShape="1">
          <a:blip r:embed="rId4">
            <a:extLst>
              <a:ext uri="{28A0092B-C50C-407E-A947-70E740481C1C}">
                <a14:useLocalDpi xmlns:a14="http://schemas.microsoft.com/office/drawing/2010/main" val="0"/>
              </a:ext>
            </a:extLst>
          </a:blip>
          <a:srcRect l="2837" r="3170"/>
          <a:stretch/>
        </p:blipFill>
        <p:spPr>
          <a:xfrm>
            <a:off x="7438768" y="1274456"/>
            <a:ext cx="3562608" cy="4552855"/>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1560280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82599-7745-9454-6B95-DE70416693BF}"/>
              </a:ext>
            </a:extLst>
          </p:cNvPr>
          <p:cNvSpPr>
            <a:spLocks noGrp="1"/>
          </p:cNvSpPr>
          <p:nvPr>
            <p:ph type="ctrTitle"/>
          </p:nvPr>
        </p:nvSpPr>
        <p:spPr/>
        <p:txBody>
          <a:bodyPr/>
          <a:lstStyle/>
          <a:p>
            <a:pPr algn="ctr"/>
            <a:r>
              <a:rPr lang="en-US"/>
              <a:t>Chapter 89 Revision Updates </a:t>
            </a:r>
          </a:p>
        </p:txBody>
      </p:sp>
    </p:spTree>
    <p:extLst>
      <p:ext uri="{BB962C8B-B14F-4D97-AF65-F5344CB8AC3E}">
        <p14:creationId xmlns:p14="http://schemas.microsoft.com/office/powerpoint/2010/main" val="36592776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B7116-C3DE-B147-F4CC-F7A5FA020C99}"/>
              </a:ext>
            </a:extLst>
          </p:cNvPr>
          <p:cNvSpPr>
            <a:spLocks noGrp="1"/>
          </p:cNvSpPr>
          <p:nvPr>
            <p:ph type="title"/>
          </p:nvPr>
        </p:nvSpPr>
        <p:spPr>
          <a:xfrm>
            <a:off x="712380" y="153230"/>
            <a:ext cx="11121657" cy="751350"/>
          </a:xfrm>
        </p:spPr>
        <p:txBody>
          <a:bodyPr anchor="ctr">
            <a:normAutofit fontScale="90000"/>
          </a:bodyPr>
          <a:lstStyle/>
          <a:p>
            <a:r>
              <a:rPr lang="en-US" i="1" u="sng">
                <a:solidFill>
                  <a:schemeClr val="accent2"/>
                </a:solidFill>
              </a:rPr>
              <a:t>Proposed</a:t>
            </a:r>
            <a:r>
              <a:rPr lang="en-US"/>
              <a:t> Chapter 89 Revisions</a:t>
            </a:r>
            <a:br>
              <a:rPr lang="en-US"/>
            </a:br>
            <a:r>
              <a:rPr lang="en-US" sz="2700" b="0" i="1"/>
              <a:t>Tentative approval by August 8, 2023 </a:t>
            </a:r>
          </a:p>
        </p:txBody>
      </p:sp>
      <p:pic>
        <p:nvPicPr>
          <p:cNvPr id="9" name="Content Placeholder 8" descr="Monthly calendar with solid fill">
            <a:extLst>
              <a:ext uri="{FF2B5EF4-FFF2-40B4-BE49-F238E27FC236}">
                <a16:creationId xmlns:a16="http://schemas.microsoft.com/office/drawing/2014/main" id="{54A3D021-40AD-BC08-BCD8-8883B757D3C5}"/>
              </a:ext>
            </a:extLst>
          </p:cNvPr>
          <p:cNvPicPr>
            <a:picLocks noGrp="1" noChangeAspect="1"/>
          </p:cNvPicPr>
          <p:nvPr>
            <p:ph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89818" y="153230"/>
            <a:ext cx="3667760" cy="3667760"/>
          </a:xfrm>
        </p:spPr>
      </p:pic>
      <p:graphicFrame>
        <p:nvGraphicFramePr>
          <p:cNvPr id="7" name="Content Placeholder 6">
            <a:extLst>
              <a:ext uri="{FF2B5EF4-FFF2-40B4-BE49-F238E27FC236}">
                <a16:creationId xmlns:a16="http://schemas.microsoft.com/office/drawing/2014/main" id="{5E444D23-801F-2B7F-57D4-1D88D07FC3C4}"/>
              </a:ext>
            </a:extLst>
          </p:cNvPr>
          <p:cNvGraphicFramePr>
            <a:graphicFrameLocks noGrp="1"/>
          </p:cNvGraphicFramePr>
          <p:nvPr>
            <p:ph idx="1"/>
            <p:extLst>
              <p:ext uri="{D42A27DB-BD31-4B8C-83A1-F6EECF244321}">
                <p14:modId xmlns:p14="http://schemas.microsoft.com/office/powerpoint/2010/main" val="2206217712"/>
              </p:ext>
            </p:extLst>
          </p:nvPr>
        </p:nvGraphicFramePr>
        <p:xfrm>
          <a:off x="654061" y="1253331"/>
          <a:ext cx="7935757"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Explosion: 14 Points 9">
            <a:extLst>
              <a:ext uri="{FF2B5EF4-FFF2-40B4-BE49-F238E27FC236}">
                <a16:creationId xmlns:a16="http://schemas.microsoft.com/office/drawing/2014/main" id="{1841CE0D-8FED-0B71-F958-9C107CC2A12E}"/>
              </a:ext>
            </a:extLst>
          </p:cNvPr>
          <p:cNvSpPr/>
          <p:nvPr/>
        </p:nvSpPr>
        <p:spPr>
          <a:xfrm>
            <a:off x="10312400" y="179324"/>
            <a:ext cx="1879600" cy="1432376"/>
          </a:xfrm>
          <a:prstGeom prst="irregularSeal2">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Calibri" panose="020F0502020204030204"/>
                <a:ea typeface="+mn-ea"/>
                <a:cs typeface="+mn-cs"/>
              </a:rPr>
              <a:t>August 8th</a:t>
            </a:r>
          </a:p>
        </p:txBody>
      </p:sp>
      <p:sp>
        <p:nvSpPr>
          <p:cNvPr id="4" name="TextBox 3">
            <a:extLst>
              <a:ext uri="{FF2B5EF4-FFF2-40B4-BE49-F238E27FC236}">
                <a16:creationId xmlns:a16="http://schemas.microsoft.com/office/drawing/2014/main" id="{0EC7D686-BB1F-6EDE-04E7-142BE7563FA3}"/>
              </a:ext>
            </a:extLst>
          </p:cNvPr>
          <p:cNvSpPr txBox="1"/>
          <p:nvPr/>
        </p:nvSpPr>
        <p:spPr>
          <a:xfrm>
            <a:off x="212029" y="5562378"/>
            <a:ext cx="117679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ESCs &amp; LEAs are to continue to use the current LPAC guidance and training materials posted on </a:t>
            </a: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hlinkClick r:id="rId9"/>
              </a:rPr>
              <a:t>txel.org/LPAC</a:t>
            </a: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5141683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35777B5-39E3-5F9A-4D15-1ED7A0ABC9EB}"/>
              </a:ext>
            </a:extLst>
          </p:cNvPr>
          <p:cNvSpPr>
            <a:spLocks noGrp="1"/>
          </p:cNvSpPr>
          <p:nvPr>
            <p:ph type="title"/>
          </p:nvPr>
        </p:nvSpPr>
        <p:spPr/>
        <p:txBody>
          <a:bodyPr vert="horz" lIns="91440" tIns="45720" rIns="91440" bIns="45720" rtlCol="0" anchor="ctr">
            <a:normAutofit/>
          </a:bodyPr>
          <a:lstStyle/>
          <a:p>
            <a:pPr marL="0" marR="0" lvl="0" indent="0" fontAlgn="auto">
              <a:spcAft>
                <a:spcPts val="0"/>
              </a:spcAft>
              <a:buClrTx/>
              <a:buSzTx/>
              <a:tabLst/>
              <a:defRPr/>
            </a:pPr>
            <a:r>
              <a:rPr kumimoji="0" lang="en-US" b="1" i="0" u="none" strike="noStrike" kern="1200" cap="none" spc="0" normalizeH="0" baseline="0" noProof="0">
                <a:ln>
                  <a:noFill/>
                </a:ln>
                <a:effectLst/>
                <a:uLnTx/>
                <a:uFillTx/>
                <a:latin typeface="+mn-lt"/>
                <a:ea typeface="+mj-ea"/>
                <a:cs typeface="+mj-cs"/>
              </a:rPr>
              <a:t>TEA Developed Forms </a:t>
            </a:r>
          </a:p>
        </p:txBody>
      </p:sp>
      <p:graphicFrame>
        <p:nvGraphicFramePr>
          <p:cNvPr id="9" name="Content Placeholder 8">
            <a:extLst>
              <a:ext uri="{FF2B5EF4-FFF2-40B4-BE49-F238E27FC236}">
                <a16:creationId xmlns:a16="http://schemas.microsoft.com/office/drawing/2014/main" id="{55D39B82-FA16-FB4B-E38B-AA08E0323402}"/>
              </a:ext>
            </a:extLst>
          </p:cNvPr>
          <p:cNvGraphicFramePr>
            <a:graphicFrameLocks noGrp="1"/>
          </p:cNvGraphicFramePr>
          <p:nvPr>
            <p:ph idx="1"/>
            <p:extLst>
              <p:ext uri="{D42A27DB-BD31-4B8C-83A1-F6EECF244321}">
                <p14:modId xmlns:p14="http://schemas.microsoft.com/office/powerpoint/2010/main" val="399305220"/>
              </p:ext>
            </p:extLst>
          </p:nvPr>
        </p:nvGraphicFramePr>
        <p:xfrm>
          <a:off x="578743" y="1195739"/>
          <a:ext cx="1062355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 name="Footer Placeholder 6">
            <a:extLst>
              <a:ext uri="{FF2B5EF4-FFF2-40B4-BE49-F238E27FC236}">
                <a16:creationId xmlns:a16="http://schemas.microsoft.com/office/drawing/2014/main" id="{6813425B-3A23-995B-69C0-CB79141E6560}"/>
              </a:ext>
            </a:extLst>
          </p:cNvPr>
          <p:cNvSpPr>
            <a:spLocks noGrp="1"/>
          </p:cNvSpPr>
          <p:nvPr>
            <p:ph type="ftr" sz="quarter" idx="3"/>
          </p:nvPr>
        </p:nvSpPr>
        <p:spPr/>
        <p:txBody>
          <a:bodyPr/>
          <a:lstStyle/>
          <a:p>
            <a:pPr>
              <a:spcAft>
                <a:spcPts val="600"/>
              </a:spcAft>
            </a:pPr>
            <a:r>
              <a:rPr lang="en-US"/>
              <a:t>Emergent Bilingual Support Division  |  TEA  2023</a:t>
            </a:r>
          </a:p>
        </p:txBody>
      </p:sp>
      <p:sp>
        <p:nvSpPr>
          <p:cNvPr id="2" name="Slide Number Placeholder 1">
            <a:extLst>
              <a:ext uri="{FF2B5EF4-FFF2-40B4-BE49-F238E27FC236}">
                <a16:creationId xmlns:a16="http://schemas.microsoft.com/office/drawing/2014/main" id="{D575487D-5D89-2C39-FC65-4897947A96C5}"/>
              </a:ext>
            </a:extLst>
          </p:cNvPr>
          <p:cNvSpPr>
            <a:spLocks noGrp="1"/>
          </p:cNvSpPr>
          <p:nvPr>
            <p:ph type="sldNum" sz="quarter" idx="4"/>
          </p:nvPr>
        </p:nvSpPr>
        <p:spPr/>
        <p:txBody>
          <a:bodyPr vert="horz" lIns="91440" tIns="45720" rIns="91440" bIns="45720" rtlCol="0" anchor="ctr">
            <a:normAutofit/>
          </a:bodyPr>
          <a:lstStyle/>
          <a:p>
            <a:pPr>
              <a:spcAft>
                <a:spcPts val="600"/>
              </a:spcAft>
            </a:pPr>
            <a:fld id="{69C126A4-BD19-47E2-8A0E-0DE1B9D8C925}" type="slidenum">
              <a:rPr lang="en-US" smtClean="0"/>
              <a:pPr>
                <a:spcAft>
                  <a:spcPts val="600"/>
                </a:spcAft>
              </a:pPr>
              <a:t>7</a:t>
            </a:fld>
            <a:endParaRPr lang="en-US"/>
          </a:p>
        </p:txBody>
      </p:sp>
      <p:sp>
        <p:nvSpPr>
          <p:cNvPr id="10" name="TextBox 9">
            <a:extLst>
              <a:ext uri="{FF2B5EF4-FFF2-40B4-BE49-F238E27FC236}">
                <a16:creationId xmlns:a16="http://schemas.microsoft.com/office/drawing/2014/main" id="{D2B94E3C-9B12-078C-A61D-CB3AA4886C71}"/>
              </a:ext>
            </a:extLst>
          </p:cNvPr>
          <p:cNvSpPr txBox="1"/>
          <p:nvPr/>
        </p:nvSpPr>
        <p:spPr>
          <a:xfrm>
            <a:off x="4150582" y="4818491"/>
            <a:ext cx="4561826" cy="369332"/>
          </a:xfrm>
          <a:prstGeom prst="rect">
            <a:avLst/>
          </a:prstGeom>
          <a:noFill/>
        </p:spPr>
        <p:txBody>
          <a:bodyPr wrap="none" rtlCol="0">
            <a:spAutoFit/>
          </a:bodyPr>
          <a:lstStyle/>
          <a:p>
            <a:r>
              <a:rPr lang="en-US"/>
              <a:t>Standardized forms for uniformity &amp; alignment</a:t>
            </a:r>
          </a:p>
        </p:txBody>
      </p:sp>
      <p:sp>
        <p:nvSpPr>
          <p:cNvPr id="11" name="TextBox 10">
            <a:extLst>
              <a:ext uri="{FF2B5EF4-FFF2-40B4-BE49-F238E27FC236}">
                <a16:creationId xmlns:a16="http://schemas.microsoft.com/office/drawing/2014/main" id="{1B335406-BD37-7809-19AC-1E564352B543}"/>
              </a:ext>
            </a:extLst>
          </p:cNvPr>
          <p:cNvSpPr txBox="1"/>
          <p:nvPr/>
        </p:nvSpPr>
        <p:spPr>
          <a:xfrm>
            <a:off x="2277499" y="5653570"/>
            <a:ext cx="7991418" cy="369332"/>
          </a:xfrm>
          <a:prstGeom prst="rect">
            <a:avLst/>
          </a:prstGeom>
          <a:noFill/>
        </p:spPr>
        <p:txBody>
          <a:bodyPr wrap="none" rtlCol="0">
            <a:spAutoFit/>
          </a:bodyPr>
          <a:lstStyle/>
          <a:p>
            <a:r>
              <a:rPr lang="en-US"/>
              <a:t>All forms will be translated into top 24 languages, and others as needed by LEAs. </a:t>
            </a:r>
          </a:p>
        </p:txBody>
      </p:sp>
    </p:spTree>
    <p:extLst>
      <p:ext uri="{BB962C8B-B14F-4D97-AF65-F5344CB8AC3E}">
        <p14:creationId xmlns:p14="http://schemas.microsoft.com/office/powerpoint/2010/main" val="38820350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ED4DC35D-537C-BB25-D71A-EE9772083967}"/>
              </a:ext>
            </a:extLst>
          </p:cNvPr>
          <p:cNvSpPr>
            <a:spLocks noGrp="1"/>
          </p:cNvSpPr>
          <p:nvPr>
            <p:ph type="title"/>
          </p:nvPr>
        </p:nvSpPr>
        <p:spPr/>
        <p:txBody>
          <a:bodyPr/>
          <a:lstStyle/>
          <a:p>
            <a:r>
              <a:rPr lang="en-US">
                <a:solidFill>
                  <a:schemeClr val="accent2"/>
                </a:solidFill>
              </a:rPr>
              <a:t>NEW</a:t>
            </a:r>
            <a:r>
              <a:rPr lang="en-US"/>
              <a:t> Home Language Survey – </a:t>
            </a:r>
            <a:r>
              <a:rPr lang="en-US">
                <a:solidFill>
                  <a:schemeClr val="accent2"/>
                </a:solidFill>
              </a:rPr>
              <a:t>August 8, 2023</a:t>
            </a:r>
          </a:p>
        </p:txBody>
      </p:sp>
      <p:pic>
        <p:nvPicPr>
          <p:cNvPr id="13" name="Content Placeholder 12" descr="A screenshot of a survey&#10;&#10;Description automatically generated">
            <a:extLst>
              <a:ext uri="{FF2B5EF4-FFF2-40B4-BE49-F238E27FC236}">
                <a16:creationId xmlns:a16="http://schemas.microsoft.com/office/drawing/2014/main" id="{8F969778-8FB9-E9AA-E819-94D976341D6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90068" y="1031158"/>
            <a:ext cx="4419189" cy="479568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5" name="Content Placeholder 14" descr="A close-up of a questionnaire&#10;&#10;Description automatically generated">
            <a:extLst>
              <a:ext uri="{FF2B5EF4-FFF2-40B4-BE49-F238E27FC236}">
                <a16:creationId xmlns:a16="http://schemas.microsoft.com/office/drawing/2014/main" id="{0A263A36-BE71-4F9A-E4A7-012D5B97688B}"/>
              </a:ext>
            </a:extLst>
          </p:cNvPr>
          <p:cNvPicPr>
            <a:picLocks noGrp="1" noChangeAspect="1"/>
          </p:cNvPicPr>
          <p:nvPr>
            <p:ph idx="13"/>
          </p:nvPr>
        </p:nvPicPr>
        <p:blipFill>
          <a:blip r:embed="rId4">
            <a:extLst>
              <a:ext uri="{28A0092B-C50C-407E-A947-70E740481C1C}">
                <a14:useLocalDpi xmlns:a14="http://schemas.microsoft.com/office/drawing/2010/main" val="0"/>
              </a:ext>
            </a:extLst>
          </a:blip>
          <a:stretch>
            <a:fillRect/>
          </a:stretch>
        </p:blipFill>
        <p:spPr>
          <a:xfrm>
            <a:off x="7003936" y="945421"/>
            <a:ext cx="4499507" cy="47532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Footer Placeholder 3">
            <a:extLst>
              <a:ext uri="{FF2B5EF4-FFF2-40B4-BE49-F238E27FC236}">
                <a16:creationId xmlns:a16="http://schemas.microsoft.com/office/drawing/2014/main" id="{65956FD2-1238-A551-6D3E-7A39EEFA2418}"/>
              </a:ext>
            </a:extLst>
          </p:cNvPr>
          <p:cNvSpPr>
            <a:spLocks noGrp="1"/>
          </p:cNvSpPr>
          <p:nvPr>
            <p:ph type="ftr" sz="quarter" idx="3"/>
          </p:nvPr>
        </p:nvSpPr>
        <p:spPr/>
        <p:txBody>
          <a:bodyPr/>
          <a:lstStyle/>
          <a:p>
            <a:r>
              <a:rPr lang="en-US"/>
              <a:t>Emergent Bilingual Support Division  |  TEA  2023</a:t>
            </a:r>
          </a:p>
        </p:txBody>
      </p:sp>
      <p:sp>
        <p:nvSpPr>
          <p:cNvPr id="5" name="Slide Number Placeholder 4">
            <a:extLst>
              <a:ext uri="{FF2B5EF4-FFF2-40B4-BE49-F238E27FC236}">
                <a16:creationId xmlns:a16="http://schemas.microsoft.com/office/drawing/2014/main" id="{102D6392-F5FB-13C3-DF74-1074054D5675}"/>
              </a:ext>
            </a:extLst>
          </p:cNvPr>
          <p:cNvSpPr>
            <a:spLocks noGrp="1"/>
          </p:cNvSpPr>
          <p:nvPr>
            <p:ph type="sldNum" sz="quarter" idx="4"/>
          </p:nvPr>
        </p:nvSpPr>
        <p:spPr/>
        <p:txBody>
          <a:bodyPr/>
          <a:lstStyle/>
          <a:p>
            <a:fld id="{69C126A4-BD19-47E2-8A0E-0DE1B9D8C925}" type="slidenum">
              <a:rPr lang="en-US" smtClean="0"/>
              <a:pPr/>
              <a:t>8</a:t>
            </a:fld>
            <a:endParaRPr lang="en-US"/>
          </a:p>
        </p:txBody>
      </p:sp>
    </p:spTree>
    <p:extLst>
      <p:ext uri="{BB962C8B-B14F-4D97-AF65-F5344CB8AC3E}">
        <p14:creationId xmlns:p14="http://schemas.microsoft.com/office/powerpoint/2010/main" val="24983397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DF788D-C983-BE30-AAC9-5367775B3D17}"/>
              </a:ext>
            </a:extLst>
          </p:cNvPr>
          <p:cNvSpPr>
            <a:spLocks noGrp="1"/>
          </p:cNvSpPr>
          <p:nvPr>
            <p:ph type="title"/>
          </p:nvPr>
        </p:nvSpPr>
        <p:spPr>
          <a:xfrm>
            <a:off x="712379" y="277921"/>
            <a:ext cx="11121657" cy="751350"/>
          </a:xfrm>
        </p:spPr>
        <p:txBody>
          <a:bodyPr>
            <a:normAutofit fontScale="90000"/>
          </a:bodyPr>
          <a:lstStyle/>
          <a:p>
            <a:r>
              <a:rPr lang="en-US"/>
              <a:t>Home Language Survey (HLS) </a:t>
            </a:r>
            <a:br>
              <a:rPr lang="en-US"/>
            </a:br>
            <a:r>
              <a:rPr lang="en-US" sz="2200" b="0" i="1"/>
              <a:t>Hard and Soft Copy  </a:t>
            </a:r>
          </a:p>
        </p:txBody>
      </p:sp>
      <p:sp>
        <p:nvSpPr>
          <p:cNvPr id="3" name="Content Placeholder 2">
            <a:extLst>
              <a:ext uri="{FF2B5EF4-FFF2-40B4-BE49-F238E27FC236}">
                <a16:creationId xmlns:a16="http://schemas.microsoft.com/office/drawing/2014/main" id="{280ADD82-D6B1-E058-AEB6-6F4D35ADC51A}"/>
              </a:ext>
            </a:extLst>
          </p:cNvPr>
          <p:cNvSpPr>
            <a:spLocks noGrp="1"/>
          </p:cNvSpPr>
          <p:nvPr>
            <p:ph idx="1"/>
          </p:nvPr>
        </p:nvSpPr>
        <p:spPr>
          <a:xfrm>
            <a:off x="712379" y="1285424"/>
            <a:ext cx="8320785" cy="4351338"/>
          </a:xfrm>
        </p:spPr>
        <p:txBody>
          <a:bodyPr/>
          <a:lstStyle/>
          <a:p>
            <a:r>
              <a:rPr lang="en-US" sz="2000"/>
              <a:t>Coding the (2) languages collected from the HLS remains the same (Question 1 and 2) </a:t>
            </a:r>
          </a:p>
          <a:p>
            <a:pPr lvl="1"/>
            <a:r>
              <a:rPr lang="en-US" sz="2000" b="1"/>
              <a:t>1</a:t>
            </a:r>
            <a:r>
              <a:rPr lang="en-US" sz="2000" b="1" baseline="30000"/>
              <a:t>st</a:t>
            </a:r>
            <a:r>
              <a:rPr lang="en-US" sz="2000" b="1"/>
              <a:t> Language spoken mainly at home </a:t>
            </a:r>
          </a:p>
          <a:p>
            <a:pPr lvl="1"/>
            <a:r>
              <a:rPr lang="en-US" sz="2000" b="1"/>
              <a:t>2</a:t>
            </a:r>
            <a:r>
              <a:rPr lang="en-US" sz="2000" b="1" baseline="30000"/>
              <a:t>nd</a:t>
            </a:r>
            <a:r>
              <a:rPr lang="en-US" sz="2000" b="1"/>
              <a:t> Language spoken mainly by child </a:t>
            </a:r>
          </a:p>
          <a:p>
            <a:pPr lvl="1"/>
            <a:r>
              <a:rPr lang="en-US" sz="2000"/>
              <a:t>3</a:t>
            </a:r>
            <a:r>
              <a:rPr lang="en-US" sz="2000" baseline="30000"/>
              <a:t>rd</a:t>
            </a:r>
            <a:r>
              <a:rPr lang="en-US" sz="2000"/>
              <a:t> Language spoken by child from previous home setting</a:t>
            </a:r>
          </a:p>
          <a:p>
            <a:r>
              <a:rPr lang="en-US" sz="2000"/>
              <a:t>HLS questions will solicit more than one language to capture home language(s) every time</a:t>
            </a:r>
          </a:p>
          <a:p>
            <a:pPr lvl="1"/>
            <a:r>
              <a:rPr lang="en-US" sz="2000"/>
              <a:t>Example parent/child that comes from a bilingual speaking households</a:t>
            </a:r>
          </a:p>
          <a:p>
            <a:pPr lvl="1"/>
            <a:r>
              <a:rPr lang="en-US" sz="2000"/>
              <a:t>Digital HLS completed online should provide the same access of writing in text</a:t>
            </a:r>
          </a:p>
          <a:p>
            <a:r>
              <a:rPr lang="en-US" sz="2000"/>
              <a:t>Original HLS will be the one signed on a TEA developed form in the language spoken by parent/guardian </a:t>
            </a:r>
          </a:p>
        </p:txBody>
      </p:sp>
      <p:sp>
        <p:nvSpPr>
          <p:cNvPr id="5" name="Footer Placeholder 4">
            <a:extLst>
              <a:ext uri="{FF2B5EF4-FFF2-40B4-BE49-F238E27FC236}">
                <a16:creationId xmlns:a16="http://schemas.microsoft.com/office/drawing/2014/main" id="{005A7214-53AF-D5DA-0E9C-9CDFFD6C6AD8}"/>
              </a:ext>
            </a:extLst>
          </p:cNvPr>
          <p:cNvSpPr>
            <a:spLocks noGrp="1"/>
          </p:cNvSpPr>
          <p:nvPr>
            <p:ph type="ftr" sz="quarter" idx="3"/>
          </p:nvPr>
        </p:nvSpPr>
        <p:spPr/>
        <p:txBody>
          <a:bodyPr/>
          <a:lstStyle/>
          <a:p>
            <a:r>
              <a:rPr lang="en-US"/>
              <a:t>Emergent Bilingual Support Division  |  TEA  2023</a:t>
            </a:r>
          </a:p>
        </p:txBody>
      </p:sp>
      <p:sp>
        <p:nvSpPr>
          <p:cNvPr id="6" name="Slide Number Placeholder 5">
            <a:extLst>
              <a:ext uri="{FF2B5EF4-FFF2-40B4-BE49-F238E27FC236}">
                <a16:creationId xmlns:a16="http://schemas.microsoft.com/office/drawing/2014/main" id="{B307494F-57A2-9F0D-0AC3-22B293B75490}"/>
              </a:ext>
            </a:extLst>
          </p:cNvPr>
          <p:cNvSpPr>
            <a:spLocks noGrp="1"/>
          </p:cNvSpPr>
          <p:nvPr>
            <p:ph type="sldNum" sz="quarter" idx="4"/>
          </p:nvPr>
        </p:nvSpPr>
        <p:spPr/>
        <p:txBody>
          <a:bodyPr/>
          <a:lstStyle/>
          <a:p>
            <a:fld id="{69C126A4-BD19-47E2-8A0E-0DE1B9D8C925}" type="slidenum">
              <a:rPr lang="en-US" smtClean="0"/>
              <a:pPr/>
              <a:t>9</a:t>
            </a:fld>
            <a:endParaRPr lang="en-US"/>
          </a:p>
        </p:txBody>
      </p:sp>
      <p:pic>
        <p:nvPicPr>
          <p:cNvPr id="7" name="Content Placeholder 12" descr="A screenshot of a survey&#10;&#10;Description automatically generated">
            <a:extLst>
              <a:ext uri="{FF2B5EF4-FFF2-40B4-BE49-F238E27FC236}">
                <a16:creationId xmlns:a16="http://schemas.microsoft.com/office/drawing/2014/main" id="{94F50333-D7DB-1A18-B1CA-10DD0D89AA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2419" y="631272"/>
            <a:ext cx="1953156" cy="211955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Content Placeholder 14" descr="A close-up of a questionnaire&#10;&#10;Description automatically generated">
            <a:extLst>
              <a:ext uri="{FF2B5EF4-FFF2-40B4-BE49-F238E27FC236}">
                <a16:creationId xmlns:a16="http://schemas.microsoft.com/office/drawing/2014/main" id="{A230ED21-C68F-B136-2659-661465602B51}"/>
              </a:ext>
            </a:extLst>
          </p:cNvPr>
          <p:cNvPicPr>
            <a:picLocks noGrp="1" noChangeAspect="1"/>
          </p:cNvPicPr>
          <p:nvPr>
            <p:ph idx="13"/>
          </p:nvPr>
        </p:nvPicPr>
        <p:blipFill>
          <a:blip r:embed="rId3">
            <a:extLst>
              <a:ext uri="{28A0092B-C50C-407E-A947-70E740481C1C}">
                <a14:useLocalDpi xmlns:a14="http://schemas.microsoft.com/office/drawing/2010/main" val="0"/>
              </a:ext>
            </a:extLst>
          </a:blip>
          <a:stretch>
            <a:fillRect/>
          </a:stretch>
        </p:blipFill>
        <p:spPr>
          <a:xfrm>
            <a:off x="9338997" y="2187177"/>
            <a:ext cx="2495039" cy="26357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Arrow: Right 8">
            <a:extLst>
              <a:ext uri="{FF2B5EF4-FFF2-40B4-BE49-F238E27FC236}">
                <a16:creationId xmlns:a16="http://schemas.microsoft.com/office/drawing/2014/main" id="{B704630A-2ECF-3839-FE89-4A46D7BD762D}"/>
              </a:ext>
            </a:extLst>
          </p:cNvPr>
          <p:cNvSpPr/>
          <p:nvPr/>
        </p:nvSpPr>
        <p:spPr>
          <a:xfrm rot="933845">
            <a:off x="6150636" y="2375607"/>
            <a:ext cx="3310856" cy="295518"/>
          </a:xfrm>
          <a:prstGeom prst="rightArrow">
            <a:avLst/>
          </a:prstGeom>
          <a:solidFill>
            <a:schemeClr val="accent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Tree>
    <p:extLst>
      <p:ext uri="{BB962C8B-B14F-4D97-AF65-F5344CB8AC3E}">
        <p14:creationId xmlns:p14="http://schemas.microsoft.com/office/powerpoint/2010/main" val="319888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sS8OaD0fEAzppmbdLWe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yVXYfrv6xRPYvIO6gOl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LAP4KmYee_CztGVCq7Z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sS8OaD0fEAzppmbdLWe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sS8OaD0fEAzppmbdLWe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v_qurRkRg9tkTZ5UmMo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LAP4KmYee_CztGVCq7Z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8xQKe7Mmh6GF16M5LxPsQ"/>
</p:tagLst>
</file>

<file path=ppt/theme/theme1.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0.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Light_option  -  Read-Only" id="{6398BC00-A2D0-41BA-A7DA-D97A91B693DA}" vid="{0C440D57-75E7-4B84-A085-831389868D0F}"/>
    </a:ext>
  </a:extLst>
</a:theme>
</file>

<file path=ppt/theme/theme11.xml><?xml version="1.0" encoding="utf-8"?>
<a:theme xmlns:a="http://schemas.openxmlformats.org/drawingml/2006/main" name="2_Office Theme">
  <a:themeElements>
    <a:clrScheme name="TEA Colors">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12642D"/>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2.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sz="1400" dirty="0"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lnSpc>
            <a:spcPct val="107000"/>
          </a:lnSpc>
          <a:spcAft>
            <a:spcPts val="800"/>
          </a:spcAft>
          <a:defRPr dirty="0" smtClean="0"/>
        </a:defPPr>
      </a:lstStyle>
    </a:tx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3.xml><?xml version="1.0" encoding="utf-8"?>
<a:theme xmlns:a="http://schemas.openxmlformats.org/drawingml/2006/main" name="3_Office Theme">
  <a:themeElements>
    <a:clrScheme name="TEA Approved Colors">
      <a:dk1>
        <a:sysClr val="windowText" lastClr="000000"/>
      </a:dk1>
      <a:lt1>
        <a:sysClr val="window" lastClr="FFFFFF"/>
      </a:lt1>
      <a:dk2>
        <a:srgbClr val="44546A"/>
      </a:dk2>
      <a:lt2>
        <a:srgbClr val="E7E6E6"/>
      </a:lt2>
      <a:accent1>
        <a:srgbClr val="0D6CB9"/>
      </a:accent1>
      <a:accent2>
        <a:srgbClr val="F16038"/>
      </a:accent2>
      <a:accent3>
        <a:srgbClr val="12642D"/>
      </a:accent3>
      <a:accent4>
        <a:srgbClr val="00ACBB"/>
      </a:accent4>
      <a:accent5>
        <a:srgbClr val="70417F"/>
      </a:accent5>
      <a:accent6>
        <a:srgbClr val="DA3E26"/>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sz="1400" dirty="0"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ctr">
          <a:lnSpc>
            <a:spcPct val="107000"/>
          </a:lnSpc>
          <a:spcAft>
            <a:spcPts val="800"/>
          </a:spcAft>
          <a:defRPr dirty="0" smtClean="0"/>
        </a:defPPr>
      </a:lstStyle>
    </a:tx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4.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5.xml><?xml version="1.0" encoding="utf-8"?>
<a:theme xmlns:a="http://schemas.openxmlformats.org/drawingml/2006/main" name="9_Office Theme">
  <a:themeElements>
    <a:clrScheme name="TEA Colors">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12642D"/>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6.xml><?xml version="1.0" encoding="utf-8"?>
<a:theme xmlns:a="http://schemas.openxmlformats.org/drawingml/2006/main" name="6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17.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Light_option - TSDS.potx.pptx" id="{075553A5-4AA4-41AE-ACD2-70A0D8D240A8}" vid="{14019450-2B59-45B9-91B0-ED0BB68C2F11}"/>
    </a:ext>
  </a:extLst>
</a:theme>
</file>

<file path=ppt/theme/theme18.xml><?xml version="1.0" encoding="utf-8"?>
<a:theme xmlns:a="http://schemas.openxmlformats.org/drawingml/2006/main" name="2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 Template - OSPM TNS - Updated 3.2021  -  Read-Only" id="{2DD84F93-60CB-446E-A8E7-05864792200E}" vid="{9D386B7B-C405-4853-B959-7B49E3CF3E70}"/>
    </a:ext>
  </a:extLst>
</a:theme>
</file>

<file path=ppt/theme/theme19.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C99A2C20-094B-47C5-9BBF-50F4AB7CF89F}" vid="{0C873569-AEFC-403E-9CD3-8FD6BF8D165F}"/>
    </a:ext>
  </a:extLst>
</a:theme>
</file>

<file path=ppt/theme/theme2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2.xml><?xml version="1.0" encoding="utf-8"?>
<a:theme xmlns:a="http://schemas.openxmlformats.org/drawingml/2006/main" name="8_Office Theme">
  <a:themeElements>
    <a:clrScheme name="TEA Colors">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12642D"/>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3.xml><?xml version="1.0" encoding="utf-8"?>
<a:theme xmlns:a="http://schemas.openxmlformats.org/drawingml/2006/main" name="10_Office Theme">
  <a:themeElements>
    <a:clrScheme name="TEA Colors - 2021">
      <a:dk1>
        <a:srgbClr val="000000"/>
      </a:dk1>
      <a:lt1>
        <a:srgbClr val="FFFFFF"/>
      </a:lt1>
      <a:dk2>
        <a:srgbClr val="41873F"/>
      </a:dk2>
      <a:lt2>
        <a:srgbClr val="D8D8D8"/>
      </a:lt2>
      <a:accent1>
        <a:srgbClr val="0D6CB9"/>
      </a:accent1>
      <a:accent2>
        <a:srgbClr val="F16038"/>
      </a:accent2>
      <a:accent3>
        <a:srgbClr val="B72418"/>
      </a:accent3>
      <a:accent4>
        <a:srgbClr val="704180"/>
      </a:accent4>
      <a:accent5>
        <a:srgbClr val="596167"/>
      </a:accent5>
      <a:accent6>
        <a:srgbClr val="012069"/>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4.xml><?xml version="1.0" encoding="utf-8"?>
<a:theme xmlns:a="http://schemas.openxmlformats.org/drawingml/2006/main" name="5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5.xml><?xml version="1.0" encoding="utf-8"?>
<a:theme xmlns:a="http://schemas.openxmlformats.org/drawingml/2006/main" name="6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6.xml><?xml version="1.0" encoding="utf-8"?>
<a:theme xmlns:a="http://schemas.openxmlformats.org/drawingml/2006/main" name="7_Office Theme">
  <a:themeElements>
    <a:clrScheme name="TEA Approved Colors">
      <a:dk1>
        <a:sysClr val="windowText" lastClr="000000"/>
      </a:dk1>
      <a:lt1>
        <a:sysClr val="window" lastClr="FFFFFF"/>
      </a:lt1>
      <a:dk2>
        <a:srgbClr val="44546A"/>
      </a:dk2>
      <a:lt2>
        <a:srgbClr val="E7E6E6"/>
      </a:lt2>
      <a:accent1>
        <a:srgbClr val="0D6CB9"/>
      </a:accent1>
      <a:accent2>
        <a:srgbClr val="F16038"/>
      </a:accent2>
      <a:accent3>
        <a:srgbClr val="B72418"/>
      </a:accent3>
      <a:accent4>
        <a:srgbClr val="704280"/>
      </a:accent4>
      <a:accent5>
        <a:srgbClr val="5A6267"/>
      </a:accent5>
      <a:accent6>
        <a:srgbClr val="012169"/>
      </a:accent6>
      <a:hlink>
        <a:srgbClr val="0D6CB9"/>
      </a:hlink>
      <a:folHlink>
        <a:srgbClr val="ECAF3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7.xml><?xml version="1.0" encoding="utf-8"?>
<a:theme xmlns:a="http://schemas.openxmlformats.org/drawingml/2006/main" name="2_Office Theme">
  <a:themeElements>
    <a:clrScheme name="TEA Colors">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12642D"/>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Light_option  -  Read-Only" id="{6398BC00-A2D0-41BA-A7DA-D97A91B693DA}" vid="{0C440D57-75E7-4B84-A085-831389868D0F}"/>
    </a:ext>
  </a:extLst>
</a:theme>
</file>

<file path=ppt/theme/theme8.xml><?xml version="1.0" encoding="utf-8"?>
<a:theme xmlns:a="http://schemas.openxmlformats.org/drawingml/2006/main" name="7_Office Theme">
  <a:themeElements>
    <a:clrScheme name="TEA Colors">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12642D"/>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C_Texas_Home_Learning_Model.pptx" id="{B5084696-64F1-4D3A-9FB7-DDAC664C6D46}" vid="{81801DF4-332C-40B3-B38C-613931E27D11}"/>
    </a:ext>
  </a:extLst>
</a:theme>
</file>

<file path=ppt/theme/theme9.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64dc535-04dd-49f2-a306-e5dfdf6f536f">
      <Terms xmlns="http://schemas.microsoft.com/office/infopath/2007/PartnerControls"/>
    </lcf76f155ced4ddcb4097134ff3c332f>
    <TaxCatchAll xmlns="c18b84e2-5de8-440b-bd0f-9ce3687c892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125C97EC9BBC4449782F2FDAE6BF759" ma:contentTypeVersion="16" ma:contentTypeDescription="Create a new document." ma:contentTypeScope="" ma:versionID="9a84a75ce9c859a42844f1afc542c6a3">
  <xsd:schema xmlns:xsd="http://www.w3.org/2001/XMLSchema" xmlns:xs="http://www.w3.org/2001/XMLSchema" xmlns:p="http://schemas.microsoft.com/office/2006/metadata/properties" xmlns:ns2="55f9b468-d193-4645-a3e4-4dcc5efee1b4" xmlns:ns3="964dc535-04dd-49f2-a306-e5dfdf6f536f" xmlns:ns4="c18b84e2-5de8-440b-bd0f-9ce3687c8921" targetNamespace="http://schemas.microsoft.com/office/2006/metadata/properties" ma:root="true" ma:fieldsID="c6934e2b533c01615db357d77941e109" ns2:_="" ns3:_="" ns4:_="">
    <xsd:import namespace="55f9b468-d193-4645-a3e4-4dcc5efee1b4"/>
    <xsd:import namespace="964dc535-04dd-49f2-a306-e5dfdf6f536f"/>
    <xsd:import namespace="c18b84e2-5de8-440b-bd0f-9ce3687c892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GenerationTime" minOccurs="0"/>
                <xsd:element ref="ns3:MediaServiceEventHashCode" minOccurs="0"/>
                <xsd:element ref="ns3:MediaServiceOCR"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f9b468-d193-4645-a3e4-4dcc5efee1b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64dc535-04dd-49f2-a306-e5dfdf6f536f"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b7a77b5-e59d-49f3-97a2-3dde868dbe2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8b84e2-5de8-440b-bd0f-9ce3687c8921"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60d16e74-f922-4126-ae4d-9faa2536c169}" ma:internalName="TaxCatchAll" ma:showField="CatchAllData" ma:web="c18b84e2-5de8-440b-bd0f-9ce3687c892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AF67C3-B506-4AC4-899A-042BFB5037B2}">
  <ds:schemaRefs>
    <ds:schemaRef ds:uri="http://schemas.microsoft.com/sharepoint/v3/contenttype/forms"/>
  </ds:schemaRefs>
</ds:datastoreItem>
</file>

<file path=customXml/itemProps2.xml><?xml version="1.0" encoding="utf-8"?>
<ds:datastoreItem xmlns:ds="http://schemas.openxmlformats.org/officeDocument/2006/customXml" ds:itemID="{A7538F3C-0CB2-40E2-8D00-564FBEE9EA87}">
  <ds:schemaRefs>
    <ds:schemaRef ds:uri="55f9b468-d193-4645-a3e4-4dcc5efee1b4"/>
    <ds:schemaRef ds:uri="964dc535-04dd-49f2-a306-e5dfdf6f536f"/>
    <ds:schemaRef ds:uri="c18b84e2-5de8-440b-bd0f-9ce3687c892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033A38A-80C1-4D92-9FFC-EBF8BE1E6360}">
  <ds:schemaRefs>
    <ds:schemaRef ds:uri="55f9b468-d193-4645-a3e4-4dcc5efee1b4"/>
    <ds:schemaRef ds:uri="964dc535-04dd-49f2-a306-e5dfdf6f536f"/>
    <ds:schemaRef ds:uri="c18b84e2-5de8-440b-bd0f-9ce3687c892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682</Words>
  <Application>Microsoft Office PowerPoint</Application>
  <PresentationFormat>Widescreen</PresentationFormat>
  <Paragraphs>104</Paragraphs>
  <Slides>12</Slides>
  <Notes>6</Notes>
  <HiddenSlides>0</HiddenSlides>
  <MMClips>0</MMClips>
  <ScaleCrop>false</ScaleCrop>
  <HeadingPairs>
    <vt:vector size="8" baseType="variant">
      <vt:variant>
        <vt:lpstr>Fonts Used</vt:lpstr>
      </vt:variant>
      <vt:variant>
        <vt:i4>9</vt:i4>
      </vt:variant>
      <vt:variant>
        <vt:lpstr>Theme</vt:lpstr>
      </vt:variant>
      <vt:variant>
        <vt:i4>23</vt:i4>
      </vt:variant>
      <vt:variant>
        <vt:lpstr>Embedded OLE Servers</vt:lpstr>
      </vt:variant>
      <vt:variant>
        <vt:i4>1</vt:i4>
      </vt:variant>
      <vt:variant>
        <vt:lpstr>Slide Titles</vt:lpstr>
      </vt:variant>
      <vt:variant>
        <vt:i4>12</vt:i4>
      </vt:variant>
    </vt:vector>
  </HeadingPairs>
  <TitlesOfParts>
    <vt:vector size="45" baseType="lpstr">
      <vt:lpstr>Arial</vt:lpstr>
      <vt:lpstr>Calibri</vt:lpstr>
      <vt:lpstr>Calibri (Body)</vt:lpstr>
      <vt:lpstr>Calibri Light</vt:lpstr>
      <vt:lpstr>Courier New</vt:lpstr>
      <vt:lpstr>Open Sans (Headings)</vt:lpstr>
      <vt:lpstr>Open Sans Light</vt:lpstr>
      <vt:lpstr>Open Sans Semibold</vt:lpstr>
      <vt:lpstr>Wingdings</vt:lpstr>
      <vt:lpstr>3_Office Theme</vt:lpstr>
      <vt:lpstr>Custom Design</vt:lpstr>
      <vt:lpstr>4_Office Theme</vt:lpstr>
      <vt:lpstr>5_Office Theme</vt:lpstr>
      <vt:lpstr>6_Office Theme</vt:lpstr>
      <vt:lpstr>7_Office Theme</vt:lpstr>
      <vt:lpstr>2_Office Theme</vt:lpstr>
      <vt:lpstr>7_Office Theme</vt:lpstr>
      <vt:lpstr>3_Office Theme</vt:lpstr>
      <vt:lpstr>2_Office Theme</vt:lpstr>
      <vt:lpstr>2_Office Theme</vt:lpstr>
      <vt:lpstr>3_Office Theme</vt:lpstr>
      <vt:lpstr>3_Office Theme</vt:lpstr>
      <vt:lpstr>4_Office Theme</vt:lpstr>
      <vt:lpstr>9_Office Theme</vt:lpstr>
      <vt:lpstr>6_Office Theme</vt:lpstr>
      <vt:lpstr>2_Office Theme</vt:lpstr>
      <vt:lpstr>2_Office Theme</vt:lpstr>
      <vt:lpstr>4_Office Theme</vt:lpstr>
      <vt:lpstr>TEA Main Slide</vt:lpstr>
      <vt:lpstr>2_Office Theme</vt:lpstr>
      <vt:lpstr>8_Office Theme</vt:lpstr>
      <vt:lpstr>10_Office Theme</vt:lpstr>
      <vt:lpstr>think-cell Slide</vt:lpstr>
      <vt:lpstr>Serving Emergent Bilingual Students August 1, 2023 Division of Emergent Bilingual Support  </vt:lpstr>
      <vt:lpstr>Our Goal Is…</vt:lpstr>
      <vt:lpstr>Objectives </vt:lpstr>
      <vt:lpstr>Improving Bilingual Education</vt:lpstr>
      <vt:lpstr>Chapter 89 Revision Updates </vt:lpstr>
      <vt:lpstr>Proposed Chapter 89 Revisions Tentative approval by August 8, 2023 </vt:lpstr>
      <vt:lpstr>TEA Developed Forms </vt:lpstr>
      <vt:lpstr>NEW Home Language Survey – August 8, 2023</vt:lpstr>
      <vt:lpstr>Home Language Survey (HLS)  Hard and Soft Copy  </vt:lpstr>
      <vt:lpstr>Program Services and PEIMS Coding Increasing Awareness Campaign </vt:lpstr>
      <vt:lpstr>Next Steps </vt:lpstr>
      <vt:lpstr>Thank you for your ti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 Support Division Updates ESC Zoom Meeting</dc:title>
  <dc:creator>Santellana, Rickey</dc:creator>
  <cp:lastModifiedBy>Muffoletto, Jamie</cp:lastModifiedBy>
  <cp:revision>3</cp:revision>
  <cp:lastPrinted>1601-01-01T00:00:00Z</cp:lastPrinted>
  <dcterms:created xsi:type="dcterms:W3CDTF">2021-02-01T04:03:13Z</dcterms:created>
  <dcterms:modified xsi:type="dcterms:W3CDTF">2023-08-01T19:1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57DAA2A67E994B942BEF2DEDBA6672</vt:lpwstr>
  </property>
</Properties>
</file>